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1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4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2"/>
    <p:sldMasterId id="2147484387" r:id="rId3"/>
    <p:sldMasterId id="2147484494" r:id="rId4"/>
    <p:sldMasterId id="2147484615" r:id="rId5"/>
    <p:sldMasterId id="2147484627" r:id="rId6"/>
    <p:sldMasterId id="2147484667" r:id="rId7"/>
    <p:sldMasterId id="2147484679" r:id="rId8"/>
    <p:sldMasterId id="2147485248" r:id="rId9"/>
    <p:sldMasterId id="2147485260" r:id="rId10"/>
    <p:sldMasterId id="2147485272" r:id="rId11"/>
    <p:sldMasterId id="2147485298" r:id="rId12"/>
    <p:sldMasterId id="2147485317" r:id="rId13"/>
    <p:sldMasterId id="2147485419" r:id="rId14"/>
    <p:sldMasterId id="2147485483" r:id="rId15"/>
    <p:sldMasterId id="2147485616" r:id="rId16"/>
  </p:sldMasterIdLst>
  <p:notesMasterIdLst>
    <p:notesMasterId r:id="rId19"/>
  </p:notesMasterIdLst>
  <p:handoutMasterIdLst>
    <p:handoutMasterId r:id="rId20"/>
  </p:handoutMasterIdLst>
  <p:sldIdLst>
    <p:sldId id="399" r:id="rId17"/>
    <p:sldId id="400" r:id="rId18"/>
  </p:sldIdLst>
  <p:sldSz cx="9144000" cy="6858000" type="screen4x3"/>
  <p:notesSz cx="7010400" cy="92964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9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54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1780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3813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4492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0846" algn="l" defTabSz="91271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7C"/>
    <a:srgbClr val="374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67" autoAdjust="0"/>
    <p:restoredTop sz="79370" autoAdjust="0"/>
  </p:normalViewPr>
  <p:slideViewPr>
    <p:cSldViewPr snapToGrid="0">
      <p:cViewPr>
        <p:scale>
          <a:sx n="70" d="100"/>
          <a:sy n="70" d="100"/>
        </p:scale>
        <p:origin x="-2724" y="-576"/>
      </p:cViewPr>
      <p:guideLst>
        <p:guide orient="horz" pos="4176"/>
        <p:guide orient="horz" pos="867"/>
        <p:guide orient="horz" pos="2484"/>
        <p:guide orient="horz" pos="720"/>
        <p:guide pos="2880"/>
        <p:guide pos="273"/>
        <p:guide pos="5550"/>
      </p:guideLst>
    </p:cSldViewPr>
  </p:slideViewPr>
  <p:outlineViewPr>
    <p:cViewPr>
      <p:scale>
        <a:sx n="33" d="100"/>
        <a:sy n="33" d="100"/>
      </p:scale>
      <p:origin x="48" y="71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66" d="100"/>
          <a:sy n="166" d="100"/>
        </p:scale>
        <p:origin x="-1086" y="13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868A01-18F1-405F-9685-355E3CF68701}" type="datetimeFigureOut">
              <a:rPr lang="en-US"/>
              <a:pPr>
                <a:defRPr/>
              </a:pPr>
              <a:t>3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BCA88-7166-44BB-924F-1BE9DAF5EB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054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C7EDC4-D4F2-4831-B40E-9A92549B31E6}" type="datetimeFigureOut">
              <a:rPr lang="en-US"/>
              <a:pPr>
                <a:defRPr/>
              </a:pPr>
              <a:t>3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41C47-4CBF-4034-84E0-3A14F81F36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42993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0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4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780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13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492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846" algn="l" defTabSz="9127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smtClean="0">
              <a:latin typeface="Arial" charset="0"/>
              <a:cs typeface="Arial" charset="0"/>
            </a:endParaRPr>
          </a:p>
        </p:txBody>
      </p:sp>
      <p:sp>
        <p:nvSpPr>
          <p:cNvPr id="21508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09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1510" name="Slide Number Placeholder 5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5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7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988" indent="-228600" defTabSz="9302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1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3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05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788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5D9627F-BA26-4604-AEC2-CE64E9BA2AA0}" type="slidenum">
              <a:rPr lang="en-US" altLang="en-US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6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oleObject" Target="../embeddings/oleObject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w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0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w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7" name="Freeform 6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4F991C9-B7B3-4C88-96D6-AB9A80EC52B4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 smtClean="0">
              <a:solidFill>
                <a:srgbClr val="37424A"/>
              </a:solidFill>
            </a:endParaRPr>
          </a:p>
        </p:txBody>
      </p:sp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4" name="Freeform 13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620000" cy="10668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359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5605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3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77389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148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6" indent="0">
              <a:buNone/>
              <a:defRPr sz="1800"/>
            </a:lvl2pPr>
            <a:lvl3pPr marL="914292" indent="0">
              <a:buNone/>
              <a:defRPr sz="1600"/>
            </a:lvl3pPr>
            <a:lvl4pPr marL="1371437" indent="0">
              <a:buNone/>
              <a:defRPr sz="1400"/>
            </a:lvl4pPr>
            <a:lvl5pPr marL="1828583" indent="0">
              <a:buNone/>
              <a:defRPr sz="1400"/>
            </a:lvl5pPr>
            <a:lvl6pPr marL="2285729" indent="0">
              <a:buNone/>
              <a:defRPr sz="1400"/>
            </a:lvl6pPr>
            <a:lvl7pPr marL="2742875" indent="0">
              <a:buNone/>
              <a:defRPr sz="1400"/>
            </a:lvl7pPr>
            <a:lvl8pPr marL="3200021" indent="0">
              <a:buNone/>
              <a:defRPr sz="1400"/>
            </a:lvl8pPr>
            <a:lvl9pPr marL="365716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617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6" indent="0">
              <a:buNone/>
              <a:defRPr sz="2000" b="1"/>
            </a:lvl2pPr>
            <a:lvl3pPr marL="914292" indent="0">
              <a:buNone/>
              <a:defRPr sz="1800" b="1"/>
            </a:lvl3pPr>
            <a:lvl4pPr marL="1371437" indent="0">
              <a:buNone/>
              <a:defRPr sz="1600" b="1"/>
            </a:lvl4pPr>
            <a:lvl5pPr marL="1828583" indent="0">
              <a:buNone/>
              <a:defRPr sz="1600" b="1"/>
            </a:lvl5pPr>
            <a:lvl6pPr marL="2285729" indent="0">
              <a:buNone/>
              <a:defRPr sz="1600" b="1"/>
            </a:lvl6pPr>
            <a:lvl7pPr marL="2742875" indent="0">
              <a:buNone/>
              <a:defRPr sz="1600" b="1"/>
            </a:lvl7pPr>
            <a:lvl8pPr marL="3200021" indent="0">
              <a:buNone/>
              <a:defRPr sz="1600" b="1"/>
            </a:lvl8pPr>
            <a:lvl9pPr marL="365716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928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179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780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7333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7146" indent="0">
              <a:buNone/>
              <a:defRPr sz="2800"/>
            </a:lvl2pPr>
            <a:lvl3pPr marL="914292" indent="0">
              <a:buNone/>
              <a:defRPr sz="2400"/>
            </a:lvl3pPr>
            <a:lvl4pPr marL="1371437" indent="0">
              <a:buNone/>
              <a:defRPr sz="2000"/>
            </a:lvl4pPr>
            <a:lvl5pPr marL="1828583" indent="0">
              <a:buNone/>
              <a:defRPr sz="2000"/>
            </a:lvl5pPr>
            <a:lvl6pPr marL="2285729" indent="0">
              <a:buNone/>
              <a:defRPr sz="2000"/>
            </a:lvl6pPr>
            <a:lvl7pPr marL="2742875" indent="0">
              <a:buNone/>
              <a:defRPr sz="2000"/>
            </a:lvl7pPr>
            <a:lvl8pPr marL="3200021" indent="0">
              <a:buNone/>
              <a:defRPr sz="2000"/>
            </a:lvl8pPr>
            <a:lvl9pPr marL="3657166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6" indent="0">
              <a:buNone/>
              <a:defRPr sz="1200"/>
            </a:lvl2pPr>
            <a:lvl3pPr marL="914292" indent="0">
              <a:buNone/>
              <a:defRPr sz="1000"/>
            </a:lvl3pPr>
            <a:lvl4pPr marL="1371437" indent="0">
              <a:buNone/>
              <a:defRPr sz="900"/>
            </a:lvl4pPr>
            <a:lvl5pPr marL="1828583" indent="0">
              <a:buNone/>
              <a:defRPr sz="900"/>
            </a:lvl5pPr>
            <a:lvl6pPr marL="2285729" indent="0">
              <a:buNone/>
              <a:defRPr sz="900"/>
            </a:lvl6pPr>
            <a:lvl7pPr marL="2742875" indent="0">
              <a:buNone/>
              <a:defRPr sz="900"/>
            </a:lvl7pPr>
            <a:lvl8pPr marL="3200021" indent="0">
              <a:buNone/>
              <a:defRPr sz="900"/>
            </a:lvl8pPr>
            <a:lvl9pPr marL="365716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91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96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883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746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0378" y="2768902"/>
            <a:ext cx="8131175" cy="467820"/>
          </a:xfrm>
        </p:spPr>
        <p:txBody>
          <a:bodyPr wrap="square" tIns="0" rIns="0" bIns="0" anchor="b" anchorCtr="0"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7" y="3272091"/>
            <a:ext cx="8131176" cy="309315"/>
          </a:xfrm>
        </p:spPr>
        <p:txBody>
          <a:bodyPr wrap="square" tIns="0" rIns="0">
            <a:sp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pic>
        <p:nvPicPr>
          <p:cNvPr id="6" name="Picture 5" descr="merck_be_well_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07" y="6356256"/>
            <a:ext cx="998361" cy="304788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4594231"/>
            <a:ext cx="2576512" cy="282575"/>
          </a:xfrm>
        </p:spPr>
        <p:txBody>
          <a:bodyPr rIns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latin typeface="+mj-lt"/>
              </a:defRPr>
            </a:lvl2pPr>
            <a:lvl3pPr marL="914400" indent="0">
              <a:buNone/>
              <a:defRPr sz="1800">
                <a:latin typeface="+mj-lt"/>
              </a:defRPr>
            </a:lvl3pPr>
            <a:lvl4pPr marL="1371600" indent="0">
              <a:buNone/>
              <a:defRPr sz="1800">
                <a:latin typeface="+mj-lt"/>
              </a:defRPr>
            </a:lvl4pPr>
            <a:lvl5pPr marL="182880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269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3" y="1728789"/>
            <a:ext cx="8445499" cy="43973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4499AD-2124-45B8-AE79-55A6177C734C}" type="slidenum">
              <a:rPr 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3652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B714-0F0F-4FF5-8AFA-A1D162AD2F87}" type="slidenum">
              <a:rPr lang="en-US" altLang="en-US">
                <a:solidFill>
                  <a:srgbClr val="00877C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532538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3106" name="Picture 12" descr="EC_Text_slide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/>
          <a:stretch>
            <a:fillRect/>
          </a:stretch>
        </p:blipFill>
        <p:spPr bwMode="auto">
          <a:xfrm>
            <a:off x="1" y="-1976"/>
            <a:ext cx="7935999" cy="213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0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30310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graphicFrame>
        <p:nvGraphicFramePr>
          <p:cNvPr id="303111" name="Object 7"/>
          <p:cNvGraphicFramePr>
            <a:graphicFrameLocks noChangeAspect="1"/>
          </p:cNvGraphicFramePr>
          <p:nvPr/>
        </p:nvGraphicFramePr>
        <p:xfrm>
          <a:off x="0" y="6477000"/>
          <a:ext cx="114300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35" name="Image" r:id="rId4" imgW="1917460" imgH="647391" progId="">
                  <p:embed/>
                </p:oleObj>
              </mc:Choice>
              <mc:Fallback>
                <p:oleObj name="Image" r:id="rId4" imgW="1917460" imgH="64739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477000"/>
                        <a:ext cx="1143000" cy="38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33CC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676767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B8B8B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jClassifierImageBottom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454" y="6519136"/>
            <a:ext cx="792549" cy="3261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061E61-0BCA-4150-B181-DE10CAE5F8BB}" type="slidenum">
              <a:rPr lang="en-US" smtClean="0">
                <a:solidFill>
                  <a:srgbClr val="00877C"/>
                </a:solidFill>
              </a:rPr>
              <a:pPr/>
              <a:t>‹#›</a:t>
            </a:fld>
            <a:endParaRPr lang="en-US" dirty="0">
              <a:solidFill>
                <a:srgbClr val="00877C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21823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6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259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6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464945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50180-8C44-465D-A034-B44CD764FE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0353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A1695-A400-4A41-9DD1-CB7AFE3D49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861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0DA85-40F6-4D42-BB0C-541DFD2558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147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CC561-DE9C-468A-87A4-B5F679CE5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2974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95E74-2F21-4C5E-8944-F145F7052D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9025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DACE1E-3B3A-4CBB-AE15-2060270B3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84048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D181-D8B6-4AF0-8CA1-70BE1C5A0E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23182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CD8E6-EEB2-4FD5-B1D4-D7E760E848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795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706CCE-A2D6-4FE9-A1C2-52DE6476C4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38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9C3C0-49C8-4AB8-B88E-4283E4F7D1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9585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63"/>
            <a:ext cx="2178050" cy="620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63"/>
            <a:ext cx="6381750" cy="620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6C68E-2EBA-48CC-A7D7-7A3A1D065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62632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017D690-7102-4BC6-BF22-626CC3D3324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06027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/ Cov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3C24633-331F-4DFA-8BE9-9DDB5B4BC6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215" y="-538707"/>
            <a:ext cx="5904114" cy="777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489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5F2EDDF-1E89-43E8-BAAF-227723A0CF4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414169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3A01098-E870-4064-AD42-61DF9C3D157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44813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ED1A-410A-4089-BDC8-E4ACE700E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62515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8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39CFB2A-50F5-41E4-8BF5-5A4B92C1243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8840240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"/>
            <a:ext cx="9143997" cy="68573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1BA20DC-B506-49C1-8B11-ADD5FA9458A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1046983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8895BF-C1C5-49CB-9754-0325FBAB2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59255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E5AC91E-FE41-4456-B327-F29DD779E757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8517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D65DB8A-611A-4F4B-AF51-5415D81AA6D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9195430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3C8361E-72D1-4261-BC48-6EA379A9EFD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359257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01894A4-06E2-4681-A071-150303362E5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3279012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44452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733F9CE-44C8-48F7-BE29-0CF8AE1AA46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12705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Dark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D088921-EBF7-48EC-A86E-1D317E4D10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045120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Light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9924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D36D955-AE3B-4320-84EE-732FCC1EF8BB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498223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Light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B1AEA22-7043-4427-86E9-8F23B7876CE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461286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37A95-BF75-441A-85F7-46BF78745D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31511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 &amp; Content – Light Te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54767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405"/>
            <a:ext cx="8222618" cy="4290227"/>
          </a:xfrm>
        </p:spPr>
        <p:txBody>
          <a:bodyPr/>
          <a:lstStyle>
            <a:lvl1pPr>
              <a:spcBef>
                <a:spcPts val="1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AA32496-51FB-4C38-B376-C7AC4B122D6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3699947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8A1F6EDA-7375-41A5-9605-90BCFD844F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72153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1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79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09D0B89-E418-45F8-99EB-B392A9EC3B6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881546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FF5C32F-260A-428F-8438-207F6329A0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5716846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E5BDE5D4-3E28-4D96-92A2-587BC8BA9E4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681124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_d gray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3996"/>
            <a:ext cx="4927896" cy="2350008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FFFFFF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462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70240" cy="1076155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4667" y="1853405"/>
            <a:ext cx="3949735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D75088F-B19A-4813-BF12-087120429899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0824929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5FB58E7-435E-402F-8838-6355A07505B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3484877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54766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6F5FD16-F105-4542-8076-A07804A8E0E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128805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75398" cy="107615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66" y="1853399"/>
            <a:ext cx="8222618" cy="284733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666" y="4896160"/>
            <a:ext cx="8222618" cy="1247487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 marL="180975" indent="-147638">
              <a:spcBef>
                <a:spcPts val="200"/>
              </a:spcBef>
              <a:defRPr sz="1800"/>
            </a:lvl2pPr>
            <a:lvl3pPr marL="368300" indent="-168275">
              <a:spcBef>
                <a:spcPts val="0"/>
              </a:spcBef>
              <a:defRPr sz="1700"/>
            </a:lvl3pPr>
            <a:lvl4pPr marL="501650" indent="-13335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6CA916A-FF3A-4195-9AD0-B45A0D4F32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122894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238C1C-6DF9-4A8D-8485-1CAFF359B0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643948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FF3B38D-CF5C-4453-9C26-FB0633D4F30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659646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/ 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ThankYou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75" y="1913098"/>
            <a:ext cx="5438120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66" y="3970933"/>
            <a:ext cx="3953422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Optional Subtitle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66" y="5483546"/>
            <a:ext cx="3953422" cy="739456"/>
          </a:xfrm>
        </p:spPr>
        <p:txBody>
          <a:bodyPr/>
          <a:lstStyle>
            <a:lvl1pPr>
              <a:defRPr sz="550" kern="500" baseline="0">
                <a:solidFill>
                  <a:srgbClr val="FFFFF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</p:spTree>
    <p:extLst>
      <p:ext uri="{BB962C8B-B14F-4D97-AF65-F5344CB8AC3E}">
        <p14:creationId xmlns:p14="http://schemas.microsoft.com/office/powerpoint/2010/main" val="483914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566" y="1185905"/>
            <a:ext cx="6974116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575" y="5628859"/>
            <a:ext cx="3601387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2574" y="5374254"/>
            <a:ext cx="1936461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4709701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TOC – Gree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8" y="446259"/>
            <a:ext cx="7834136" cy="10761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Agenda / TOC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658" y="1853405"/>
            <a:ext cx="8222023" cy="4290227"/>
          </a:xfrm>
        </p:spPr>
        <p:txBody>
          <a:bodyPr numCol="2" spcCol="731520"/>
          <a:lstStyle>
            <a:lvl1pPr marL="368300" indent="-368300">
              <a:spcBef>
                <a:spcPts val="1000"/>
              </a:spcBef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27063" indent="-258763"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49313" indent="-1460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1055688" indent="-171450">
              <a:buFont typeface="Lucida Grande"/>
              <a:buChar char="–"/>
              <a:defRPr>
                <a:solidFill>
                  <a:schemeClr val="tx1"/>
                </a:solidFill>
              </a:defRPr>
            </a:lvl4pPr>
            <a:lvl5pPr marL="1279525" indent="-182563">
              <a:buFont typeface="Arial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51A29BB-6BCA-4B1E-AE44-7B20672C1D1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7708044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AE50EC3-2178-4B68-B483-6E1D6413E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154908"/>
              </p:ext>
            </p:ext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40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34136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E8FD5BA-E117-4FA2-98E4-5BFDE4FBBB6F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5057594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787717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82B4917-70BC-4191-B267-1E09F5585BA7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666286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– Da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49609" cy="10761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D97F68-CC38-3C48-B083-3B4A145706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74BFB38-1F04-4CBF-A549-B998BE4BA41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0218313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Light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59" y="446259"/>
            <a:ext cx="7865083" cy="1076155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F5198F4-4D6C-4309-ABC3-E4A34159577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34975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808348" cy="107615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8228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822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372701" y="2116113"/>
            <a:ext cx="1220709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2667174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3961647" y="2116113"/>
            <a:ext cx="1220709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5256119" y="2116113"/>
            <a:ext cx="1220709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550592" y="2116113"/>
            <a:ext cx="1220709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7845063" y="2116113"/>
            <a:ext cx="1220709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372710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66718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961646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256127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550592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845071" y="3846488"/>
            <a:ext cx="1234762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6" name="Picture 25" descr="Beacon_IFL_white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549" y="6176457"/>
            <a:ext cx="1076986" cy="5114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5A63310F-369B-4847-9C8D-8070D5D8F77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3990493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" y="3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404533"/>
            <a:ext cx="5370924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</p:spTree>
    <p:extLst>
      <p:ext uri="{BB962C8B-B14F-4D97-AF65-F5344CB8AC3E}">
        <p14:creationId xmlns:p14="http://schemas.microsoft.com/office/powerpoint/2010/main" val="1665085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2198C-B404-4D8B-B715-0AE54A2881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43071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divider – Warm 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EACON_SubDivid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2256205"/>
            <a:ext cx="4927896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4667" y="4631292"/>
            <a:ext cx="4927896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9674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540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3949735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5A09D48-32F6-4B53-90C5-983965D8955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196520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0733" y="4555076"/>
            <a:ext cx="4681169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2481" y="1571359"/>
            <a:ext cx="7539412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9E81BB7-770F-44BA-906F-EA5A3753E3F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37460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4667" y="446259"/>
            <a:ext cx="7916211" cy="1076155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8711" y="1853405"/>
            <a:ext cx="525857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7424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>
              <a:solidFill>
                <a:srgbClr val="37424A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4667" y="1853405"/>
            <a:ext cx="264827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5316" y="6177242"/>
            <a:ext cx="1076986" cy="5114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2544525-B621-4E08-82DB-560A40349F1F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380878" y="174249"/>
            <a:ext cx="551901" cy="6882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1353684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E4B76F9-4F78-49ED-8082-5E5A5ED6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1877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6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B58467-406B-475A-8928-FF3F14AEE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D530E19-71F9-4A86-9588-20F39725F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37424A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10A7BCC-54D8-434F-A67D-ADE3E9AFCA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D97F68-CC38-3C48-B083-3B4A1457065E}" type="slidenum">
              <a:rPr lang="en-US" smtClean="0">
                <a:solidFill>
                  <a:srgbClr val="37424A"/>
                </a:solidFill>
              </a:rPr>
              <a:pPr/>
              <a:t>‹#›</a:t>
            </a:fld>
            <a:endParaRPr lang="en-US" dirty="0">
              <a:solidFill>
                <a:srgbClr val="3742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850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25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3372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626225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1793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2098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6726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6383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46941-CBB8-44DC-A65A-D314DC5A0F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00320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2758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495800" y="6477000"/>
            <a:ext cx="685800" cy="2317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38639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841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2714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100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6654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F82C3-B0A9-4D90-8221-B2195BCD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42123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1CB57-8D3D-48E6-BA83-5A3B10933D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712323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819F9D-F887-46FE-85D6-FD4A564E7A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12368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8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4F614-FE2F-4084-850F-590967C4E0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33973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BDC38-2ADB-47B1-949D-242BD9E1A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84564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2FC8A-0462-4F84-B542-F7C98182D1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816952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2C196-238A-4BC4-A0FC-51707A521B0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526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F057D-B440-429A-8B26-16F1E09505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009279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4B1A9-BD49-4EE5-B297-1C6D4771A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612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2E299-014A-4C15-B162-DD8CEA2B34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92136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E0EB-4569-4A7E-B528-052D8B7CB1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054248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38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38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18C712-A849-456D-BD98-D9C6779205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404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F9292-E11C-4D02-9375-162058DFF6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939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1" t="18857" b="2"/>
          <a:stretch>
            <a:fillRect/>
          </a:stretch>
        </p:blipFill>
        <p:spPr bwMode="auto">
          <a:xfrm>
            <a:off x="24" y="8"/>
            <a:ext cx="265112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2192699"/>
            <a:ext cx="1752600" cy="533400"/>
          </a:xfrm>
        </p:spPr>
        <p:txBody>
          <a:bodyPr anchor="b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en-US" noProof="0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81225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866C4-7D53-4B19-83F8-7773E8FB2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8445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D22A3-822E-4A3B-96E7-CF64817FE3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2439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E8B79-BF55-4624-8CFC-7E88DFC429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72552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3132138" y="304800"/>
            <a:ext cx="0" cy="62484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270" tIns="45642" rIns="91270" bIns="45642" anchor="ctr"/>
          <a:lstStyle/>
          <a:p>
            <a:endParaRPr lang="en-US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 userDrawn="1"/>
        </p:nvGraphicFramePr>
        <p:xfrm>
          <a:off x="3344869" y="1068388"/>
          <a:ext cx="2522537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090" name="Picture" r:id="rId3" imgW="3373438" imgH="1017588" progId="Word.Picture.8">
                  <p:embed/>
                </p:oleObj>
              </mc:Choice>
              <mc:Fallback>
                <p:oleObj name="Picture" r:id="rId3" imgW="3373438" imgH="1017588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4869" y="1068388"/>
                        <a:ext cx="2522537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6569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622DA-627E-4849-8AB0-56CF53C1ED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70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86A58-2A80-4711-B962-1FDC623D8E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1527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C0EFD-90FE-4F11-B5D5-4033F1C9D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636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D03298-2DE3-4757-BE0A-25105F042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500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CFC5D-181E-4E7A-882D-F810D2FDF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180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44E2-BCA6-4468-828D-3BC4F74825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87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0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6" name="Freeform 5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B818FDC9-7DCF-4379-A76D-8835E7A366DA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 smtClean="0">
              <a:solidFill>
                <a:srgbClr val="37424A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3" name="Freeform 12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503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4390B-0F7C-434E-8F78-342D9DBE2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1009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1E8E9-86BC-446D-8CCE-7460ECCC9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0121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FB23A-F120-4928-B9A9-71700EE395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1164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-30159"/>
            <a:ext cx="2178050" cy="620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7000" y="-30159"/>
            <a:ext cx="6381750" cy="620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6C8E1-533B-408A-B3EB-9B9D98CD6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113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15874-C1B4-44EA-A33C-F24CB2FE71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1922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6DFDB-B784-40D0-89AF-985E46A87A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19250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C1784-6D43-4678-BA3E-4529929F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00578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3591E8-4485-458B-9A26-565322F4A2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60883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78DCFA-9241-4E30-AEA0-B534508CA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91783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03ABE7-C67F-49BC-83DB-838E8F316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79930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8" name="Freeform 7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0F8457C4-0478-4319-A700-50DE3384F4BB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 smtClean="0">
              <a:solidFill>
                <a:srgbClr val="37424A"/>
              </a:solidFill>
            </a:endParaRPr>
          </a:p>
        </p:txBody>
      </p:sp>
      <p:grpSp>
        <p:nvGrpSpPr>
          <p:cNvPr id="14" name="Group 28"/>
          <p:cNvGrpSpPr>
            <a:grpSpLocks/>
          </p:cNvGrpSpPr>
          <p:nvPr userDrawn="1"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5" name="Freeform 14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3245"/>
            <a:ext cx="8382000" cy="4525963"/>
          </a:xfrm>
        </p:spPr>
        <p:txBody>
          <a:bodyPr/>
          <a:lstStyle>
            <a:lvl1pPr marL="234039" indent="-234039">
              <a:buFont typeface="Wingdings" panose="05000000000000000000" pitchFamily="2" charset="2"/>
              <a:buChar char="Ø"/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05592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C83A0-82DC-411B-B6CF-FD71A121C1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4604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13BDC-BCDF-49E2-B308-A3356F2E2B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28444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BBA092-2B07-4A54-B3FB-884377562F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375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9BA6B-01F1-41B7-A839-B9C963FC44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73799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31E54-2647-48B6-9AC9-7CF372A62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3096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75128-4E82-4334-87B2-7B046A72F0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4053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D68BB-92A4-43CA-9F4B-7C0B7E204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68196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FE73B-E4F3-469D-A0C2-26A5401EA6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50549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CC5AE-CE4E-43BD-9D81-2C6EE3A1EA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4332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6B3D5E-9C2B-4E03-86E0-7F3832F09B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2863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478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A765E6-10B7-402A-A8D2-B27DA729C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6445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18F4-16AC-4BEF-97FE-45761CB1A7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2380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79DF3-A5B0-4F7C-B6C7-C2216C12B1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76909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40805-9D4A-4632-AEE0-3D2AAB637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6702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02A00-9016-4D6D-BCCC-6E65F563D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74956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94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94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9586AB-C23F-4898-9F56-48A16F89C0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43422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645706-A17E-4A00-A4FC-6F5BEFE413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1246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F2D2D-C2C1-49B4-B26B-C18C42DA48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23651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BF183-5882-4120-8A01-0BACA8495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995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7474B6-2382-49A7-AC4E-E2AB6BE1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1886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018" tIns="45506" rIns="91018" bIns="45506"/>
          <a:lstStyle>
            <a:lvl1pPr algn="l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smtClean="0"/>
              <a:t>Master title </a:t>
            </a:r>
            <a:r>
              <a:rPr lang="en-US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13774017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78061-D1E4-400D-A2EE-47902C241E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3797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335796-CEBC-4B04-837C-45493925C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3117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FFCA3-5C66-4DA6-BB30-B5681697B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16715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777E-B142-4D56-8F10-F5426FC561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5062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952C-AE61-4082-ADBC-D71E5CE79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9621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409156-DF21-4566-BBD6-BD67B2E744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72092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69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69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D093B-99F1-41A6-9F2D-08D4E1742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6917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354" indent="0" algn="ctr">
              <a:buNone/>
              <a:defRPr/>
            </a:lvl2pPr>
            <a:lvl3pPr marL="912714" indent="0" algn="ctr">
              <a:buNone/>
              <a:defRPr/>
            </a:lvl3pPr>
            <a:lvl4pPr marL="1369077" indent="0" algn="ctr">
              <a:buNone/>
              <a:defRPr/>
            </a:lvl4pPr>
            <a:lvl5pPr marL="1825426" indent="0" algn="ctr">
              <a:buNone/>
              <a:defRPr/>
            </a:lvl5pPr>
            <a:lvl6pPr marL="2281780" indent="0" algn="ctr">
              <a:buNone/>
              <a:defRPr/>
            </a:lvl6pPr>
            <a:lvl7pPr marL="2738136" indent="0" algn="ctr">
              <a:buNone/>
              <a:defRPr/>
            </a:lvl7pPr>
            <a:lvl8pPr marL="3194492" indent="0" algn="ctr">
              <a:buNone/>
              <a:defRPr/>
            </a:lvl8pPr>
            <a:lvl9pPr marL="36508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D80503-F221-4C20-8466-00B1228D35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40490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A61E3E-9F87-4269-881C-75631A64BC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79290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354" indent="0">
              <a:buNone/>
              <a:defRPr sz="1800"/>
            </a:lvl2pPr>
            <a:lvl3pPr marL="912714" indent="0">
              <a:buNone/>
              <a:defRPr sz="1600"/>
            </a:lvl3pPr>
            <a:lvl4pPr marL="1369077" indent="0">
              <a:buNone/>
              <a:defRPr sz="1400"/>
            </a:lvl4pPr>
            <a:lvl5pPr marL="1825426" indent="0">
              <a:buNone/>
              <a:defRPr sz="1400"/>
            </a:lvl5pPr>
            <a:lvl6pPr marL="2281780" indent="0">
              <a:buNone/>
              <a:defRPr sz="1400"/>
            </a:lvl6pPr>
            <a:lvl7pPr marL="2738136" indent="0">
              <a:buNone/>
              <a:defRPr sz="1400"/>
            </a:lvl7pPr>
            <a:lvl8pPr marL="3194492" indent="0">
              <a:buNone/>
              <a:defRPr sz="1400"/>
            </a:lvl8pPr>
            <a:lvl9pPr marL="36508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41993B-1650-4D61-969A-DF05C9E898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772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2990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2039"/>
            <a:ext cx="4038600" cy="5229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5EDB-B74F-41FE-9B76-F1D14CB9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43959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54" indent="0">
              <a:buNone/>
              <a:defRPr sz="2000" b="1"/>
            </a:lvl2pPr>
            <a:lvl3pPr marL="912714" indent="0">
              <a:buNone/>
              <a:defRPr sz="1800" b="1"/>
            </a:lvl3pPr>
            <a:lvl4pPr marL="1369077" indent="0">
              <a:buNone/>
              <a:defRPr sz="1600" b="1"/>
            </a:lvl4pPr>
            <a:lvl5pPr marL="1825426" indent="0">
              <a:buNone/>
              <a:defRPr sz="1600" b="1"/>
            </a:lvl5pPr>
            <a:lvl6pPr marL="2281780" indent="0">
              <a:buNone/>
              <a:defRPr sz="1600" b="1"/>
            </a:lvl6pPr>
            <a:lvl7pPr marL="2738136" indent="0">
              <a:buNone/>
              <a:defRPr sz="1600" b="1"/>
            </a:lvl7pPr>
            <a:lvl8pPr marL="3194492" indent="0">
              <a:buNone/>
              <a:defRPr sz="1600" b="1"/>
            </a:lvl8pPr>
            <a:lvl9pPr marL="36508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61BC0-A25D-46C3-A9C0-2B88425A2C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4652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149A1-7189-4FB9-A1AD-69573186D8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4758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518F-E6B8-42FC-A676-BF1519E444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79590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3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A384-D418-4741-B274-6C80B0F6CD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6108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354" indent="0">
              <a:buNone/>
              <a:defRPr sz="2800"/>
            </a:lvl2pPr>
            <a:lvl3pPr marL="912714" indent="0">
              <a:buNone/>
              <a:defRPr sz="2400"/>
            </a:lvl3pPr>
            <a:lvl4pPr marL="1369077" indent="0">
              <a:buNone/>
              <a:defRPr sz="2000"/>
            </a:lvl4pPr>
            <a:lvl5pPr marL="1825426" indent="0">
              <a:buNone/>
              <a:defRPr sz="2000"/>
            </a:lvl5pPr>
            <a:lvl6pPr marL="2281780" indent="0">
              <a:buNone/>
              <a:defRPr sz="2000"/>
            </a:lvl6pPr>
            <a:lvl7pPr marL="2738136" indent="0">
              <a:buNone/>
              <a:defRPr sz="2000"/>
            </a:lvl7pPr>
            <a:lvl8pPr marL="3194492" indent="0">
              <a:buNone/>
              <a:defRPr sz="2000"/>
            </a:lvl8pPr>
            <a:lvl9pPr marL="36508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54" indent="0">
              <a:buNone/>
              <a:defRPr sz="1200"/>
            </a:lvl2pPr>
            <a:lvl3pPr marL="912714" indent="0">
              <a:buNone/>
              <a:defRPr sz="1000"/>
            </a:lvl3pPr>
            <a:lvl4pPr marL="1369077" indent="0">
              <a:buNone/>
              <a:defRPr sz="900"/>
            </a:lvl4pPr>
            <a:lvl5pPr marL="1825426" indent="0">
              <a:buNone/>
              <a:defRPr sz="900"/>
            </a:lvl5pPr>
            <a:lvl6pPr marL="2281780" indent="0">
              <a:buNone/>
              <a:defRPr sz="900"/>
            </a:lvl6pPr>
            <a:lvl7pPr marL="2738136" indent="0">
              <a:buNone/>
              <a:defRPr sz="900"/>
            </a:lvl7pPr>
            <a:lvl8pPr marL="3194492" indent="0">
              <a:buNone/>
              <a:defRPr sz="900"/>
            </a:lvl8pPr>
            <a:lvl9pPr marL="36508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49CF-9E21-4A6B-A377-8C36BBDAF3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5366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E264-F26E-4D3D-9953-E2A9FC73B3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9807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122274"/>
            <a:ext cx="2095500" cy="6169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22274"/>
            <a:ext cx="6134100" cy="6169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3DD319-9F7F-43B8-88BF-BBA17FCD3E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9214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46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66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9051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35" indent="0">
              <a:buNone/>
              <a:defRPr sz="1800"/>
            </a:lvl2pPr>
            <a:lvl3pPr marL="913071" indent="0">
              <a:buNone/>
              <a:defRPr sz="1600"/>
            </a:lvl3pPr>
            <a:lvl4pPr marL="1369610" indent="0">
              <a:buNone/>
              <a:defRPr sz="1400"/>
            </a:lvl4pPr>
            <a:lvl5pPr marL="1826148" indent="0">
              <a:buNone/>
              <a:defRPr sz="1400"/>
            </a:lvl5pPr>
            <a:lvl6pPr marL="2282682" indent="0">
              <a:buNone/>
              <a:defRPr sz="1400"/>
            </a:lvl6pPr>
            <a:lvl7pPr marL="2739217" indent="0">
              <a:buNone/>
              <a:defRPr sz="1400"/>
            </a:lvl7pPr>
            <a:lvl8pPr marL="3195751" indent="0">
              <a:buNone/>
              <a:defRPr sz="1400"/>
            </a:lvl8pPr>
            <a:lvl9pPr marL="365228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000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422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35" indent="0">
              <a:buNone/>
              <a:defRPr sz="2000" b="1"/>
            </a:lvl2pPr>
            <a:lvl3pPr marL="913071" indent="0">
              <a:buNone/>
              <a:defRPr sz="1800" b="1"/>
            </a:lvl3pPr>
            <a:lvl4pPr marL="1369610" indent="0">
              <a:buNone/>
              <a:defRPr sz="1600" b="1"/>
            </a:lvl4pPr>
            <a:lvl5pPr marL="1826148" indent="0">
              <a:buNone/>
              <a:defRPr sz="1600" b="1"/>
            </a:lvl5pPr>
            <a:lvl6pPr marL="2282682" indent="0">
              <a:buNone/>
              <a:defRPr sz="1600" b="1"/>
            </a:lvl6pPr>
            <a:lvl7pPr marL="2739217" indent="0">
              <a:buNone/>
              <a:defRPr sz="1600" b="1"/>
            </a:lvl7pPr>
            <a:lvl8pPr marL="3195751" indent="0">
              <a:buNone/>
              <a:defRPr sz="1600" b="1"/>
            </a:lvl8pPr>
            <a:lvl9pPr marL="365228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775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688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6533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6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8413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535" indent="0">
              <a:buNone/>
              <a:defRPr sz="2800"/>
            </a:lvl2pPr>
            <a:lvl3pPr marL="913071" indent="0">
              <a:buNone/>
              <a:defRPr sz="2400"/>
            </a:lvl3pPr>
            <a:lvl4pPr marL="1369610" indent="0">
              <a:buNone/>
              <a:defRPr sz="2000"/>
            </a:lvl4pPr>
            <a:lvl5pPr marL="1826148" indent="0">
              <a:buNone/>
              <a:defRPr sz="2000"/>
            </a:lvl5pPr>
            <a:lvl6pPr marL="2282682" indent="0">
              <a:buNone/>
              <a:defRPr sz="2000"/>
            </a:lvl6pPr>
            <a:lvl7pPr marL="2739217" indent="0">
              <a:buNone/>
              <a:defRPr sz="2000"/>
            </a:lvl7pPr>
            <a:lvl8pPr marL="3195751" indent="0">
              <a:buNone/>
              <a:defRPr sz="2000"/>
            </a:lvl8pPr>
            <a:lvl9pPr marL="365228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35" indent="0">
              <a:buNone/>
              <a:defRPr sz="1200"/>
            </a:lvl2pPr>
            <a:lvl3pPr marL="913071" indent="0">
              <a:buNone/>
              <a:defRPr sz="1000"/>
            </a:lvl3pPr>
            <a:lvl4pPr marL="1369610" indent="0">
              <a:buNone/>
              <a:defRPr sz="900"/>
            </a:lvl4pPr>
            <a:lvl5pPr marL="1826148" indent="0">
              <a:buNone/>
              <a:defRPr sz="900"/>
            </a:lvl5pPr>
            <a:lvl6pPr marL="2282682" indent="0">
              <a:buNone/>
              <a:defRPr sz="900"/>
            </a:lvl6pPr>
            <a:lvl7pPr marL="2739217" indent="0">
              <a:buNone/>
              <a:defRPr sz="900"/>
            </a:lvl7pPr>
            <a:lvl8pPr marL="3195751" indent="0">
              <a:buNone/>
              <a:defRPr sz="900"/>
            </a:lvl8pPr>
            <a:lvl9pPr marL="365228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719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090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587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5" y="1638300"/>
            <a:ext cx="5643563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0" y="2130434"/>
            <a:ext cx="2590800" cy="1470025"/>
          </a:xfrm>
        </p:spPr>
        <p:txBody>
          <a:bodyPr/>
          <a:lstStyle>
            <a:lvl1pPr>
              <a:defRPr>
                <a:solidFill>
                  <a:srgbClr val="37424A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67400" y="3733800"/>
            <a:ext cx="2590800" cy="1447800"/>
          </a:xfrm>
        </p:spPr>
        <p:txBody>
          <a:bodyPr/>
          <a:lstStyle>
            <a:lvl1pPr marL="0" indent="0">
              <a:buFontTx/>
              <a:buNone/>
              <a:defRPr>
                <a:latin typeface="Arial Narrow" pitchFamily="34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81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 txBox="1">
            <a:spLocks/>
          </p:cNvSpPr>
          <p:nvPr userDrawn="1"/>
        </p:nvSpPr>
        <p:spPr bwMode="auto">
          <a:xfrm>
            <a:off x="4368802" y="6550039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81" tIns="45541" rIns="91081" bIns="4554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000" kern="120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0863">
              <a:defRPr/>
            </a:pPr>
            <a:endParaRPr lang="en-US" dirty="0">
              <a:solidFill>
                <a:srgbClr val="0087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9664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64E7-84A5-49A9-AD94-D9AB1224ED7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1902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7" indent="0">
              <a:buNone/>
              <a:defRPr sz="1800"/>
            </a:lvl2pPr>
            <a:lvl3pPr marL="913634" indent="0">
              <a:buNone/>
              <a:defRPr sz="1600"/>
            </a:lvl3pPr>
            <a:lvl4pPr marL="1370450" indent="0">
              <a:buNone/>
              <a:defRPr sz="1400"/>
            </a:lvl4pPr>
            <a:lvl5pPr marL="1827272" indent="0">
              <a:buNone/>
              <a:defRPr sz="1400"/>
            </a:lvl5pPr>
            <a:lvl6pPr marL="2284087" indent="0">
              <a:buNone/>
              <a:defRPr sz="1400"/>
            </a:lvl6pPr>
            <a:lvl7pPr marL="2740905" indent="0">
              <a:buNone/>
              <a:defRPr sz="1400"/>
            </a:lvl7pPr>
            <a:lvl8pPr marL="3197722" indent="0">
              <a:buNone/>
              <a:defRPr sz="1400"/>
            </a:lvl8pPr>
            <a:lvl9pPr marL="365453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5986C-9057-41B1-B4B2-BF59F41B5647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32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0"/>
            <a:ext cx="411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5416F-FADD-421A-8AE2-1D0C50D8C48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8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7" indent="0">
              <a:buNone/>
              <a:defRPr sz="2000" b="1"/>
            </a:lvl2pPr>
            <a:lvl3pPr marL="913634" indent="0">
              <a:buNone/>
              <a:defRPr sz="1800" b="1"/>
            </a:lvl3pPr>
            <a:lvl4pPr marL="1370450" indent="0">
              <a:buNone/>
              <a:defRPr sz="1600" b="1"/>
            </a:lvl4pPr>
            <a:lvl5pPr marL="1827272" indent="0">
              <a:buNone/>
              <a:defRPr sz="1600" b="1"/>
            </a:lvl5pPr>
            <a:lvl6pPr marL="2284087" indent="0">
              <a:buNone/>
              <a:defRPr sz="1600" b="1"/>
            </a:lvl6pPr>
            <a:lvl7pPr marL="2740905" indent="0">
              <a:buNone/>
              <a:defRPr sz="1600" b="1"/>
            </a:lvl7pPr>
            <a:lvl8pPr marL="3197722" indent="0">
              <a:buNone/>
              <a:defRPr sz="1600" b="1"/>
            </a:lvl8pPr>
            <a:lvl9pPr marL="36545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D28DF1-CFDB-408D-8C49-6A99DFBB5E4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16248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335D9-CAAD-45FE-B3F8-A7E8C76685D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06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7881E-53D6-4C15-B8C5-36CA237F594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83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3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1E37C-B2E0-4D0C-8BE2-907D9F221CBE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4486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300"/>
            </a:lvl1pPr>
            <a:lvl2pPr marL="456817" indent="0">
              <a:buNone/>
              <a:defRPr sz="2800"/>
            </a:lvl2pPr>
            <a:lvl3pPr marL="913634" indent="0">
              <a:buNone/>
              <a:defRPr sz="2400"/>
            </a:lvl3pPr>
            <a:lvl4pPr marL="1370450" indent="0">
              <a:buNone/>
              <a:defRPr sz="2000"/>
            </a:lvl4pPr>
            <a:lvl5pPr marL="1827272" indent="0">
              <a:buNone/>
              <a:defRPr sz="2000"/>
            </a:lvl5pPr>
            <a:lvl6pPr marL="2284087" indent="0">
              <a:buNone/>
              <a:defRPr sz="2000"/>
            </a:lvl6pPr>
            <a:lvl7pPr marL="2740905" indent="0">
              <a:buNone/>
              <a:defRPr sz="2000"/>
            </a:lvl7pPr>
            <a:lvl8pPr marL="3197722" indent="0">
              <a:buNone/>
              <a:defRPr sz="2000"/>
            </a:lvl8pPr>
            <a:lvl9pPr marL="365453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7" indent="0">
              <a:buNone/>
              <a:defRPr sz="1200"/>
            </a:lvl2pPr>
            <a:lvl3pPr marL="913634" indent="0">
              <a:buNone/>
              <a:defRPr sz="1000"/>
            </a:lvl3pPr>
            <a:lvl4pPr marL="1370450" indent="0">
              <a:buNone/>
              <a:defRPr sz="900"/>
            </a:lvl4pPr>
            <a:lvl5pPr marL="1827272" indent="0">
              <a:buNone/>
              <a:defRPr sz="900"/>
            </a:lvl5pPr>
            <a:lvl6pPr marL="2284087" indent="0">
              <a:buNone/>
              <a:defRPr sz="900"/>
            </a:lvl6pPr>
            <a:lvl7pPr marL="2740905" indent="0">
              <a:buNone/>
              <a:defRPr sz="900"/>
            </a:lvl7pPr>
            <a:lvl8pPr marL="3197722" indent="0">
              <a:buNone/>
              <a:defRPr sz="900"/>
            </a:lvl8pPr>
            <a:lvl9pPr marL="36545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649CB-5D5B-4DE6-8055-A9A41BDC076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282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EE08-CA31-4477-A217-7AD8C2A58BA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149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0"/>
            <a:ext cx="20955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0"/>
            <a:ext cx="61341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200D2-FAC8-45CE-AAFA-3204439B2BF5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67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13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12.jpeg"/><Relationship Id="rId5" Type="http://schemas.openxmlformats.org/officeDocument/2006/relationships/theme" Target="../theme/them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14.xml"/><Relationship Id="rId9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1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16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tags" Target="../tags/tag12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41" Type="http://schemas.openxmlformats.org/officeDocument/2006/relationships/vmlDrawing" Target="../drawings/vmlDrawing8.v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4" Type="http://schemas.openxmlformats.org/officeDocument/2006/relationships/image" Target="../media/image22.emf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oleObject" Target="../embeddings/oleObject8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image" Target="../media/image10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610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0" y="159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0"/>
          <a:stretch>
            <a:fillRect/>
          </a:stretch>
        </p:blipFill>
        <p:spPr bwMode="auto">
          <a:xfrm>
            <a:off x="4" y="0"/>
            <a:ext cx="86137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14"/>
            <a:ext cx="83820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3" name="Pictur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801" y="6477000"/>
            <a:ext cx="9652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081" tIns="45541" rIns="91081" bIns="455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</a:t>
            </a:r>
            <a:r>
              <a:rPr lang="en-US" dirty="0" smtClean="0"/>
              <a:t>Master title </a:t>
            </a:r>
            <a:r>
              <a:rPr lang="en-US" dirty="0"/>
              <a:t>style</a:t>
            </a:r>
          </a:p>
        </p:txBody>
      </p:sp>
      <p:grpSp>
        <p:nvGrpSpPr>
          <p:cNvPr id="2055" name="Group 17"/>
          <p:cNvGrpSpPr>
            <a:grpSpLocks/>
          </p:cNvGrpSpPr>
          <p:nvPr/>
        </p:nvGrpSpPr>
        <p:grpSpPr bwMode="auto">
          <a:xfrm>
            <a:off x="7543801" y="228600"/>
            <a:ext cx="1511300" cy="1066800"/>
            <a:chOff x="7543800" y="228600"/>
            <a:chExt cx="1511665" cy="1066800"/>
          </a:xfrm>
        </p:grpSpPr>
        <p:sp>
          <p:nvSpPr>
            <p:cNvPr id="19" name="Freeform 18"/>
            <p:cNvSpPr/>
            <p:nvPr/>
          </p:nvSpPr>
          <p:spPr>
            <a:xfrm rot="10800000">
              <a:off x="8305984" y="838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 rot="10800000">
              <a:off x="7848674" y="4572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 rot="10800000">
              <a:off x="7543800" y="6858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 rot="10800000">
              <a:off x="8534639" y="5334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5" rIns="18416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rot="10800000">
              <a:off x="8229766" y="228600"/>
              <a:ext cx="520826" cy="457200"/>
            </a:xfrm>
            <a:custGeom>
              <a:avLst/>
              <a:gdLst>
                <a:gd name="connsiteX0" fmla="*/ 0 w 1484312"/>
                <a:gd name="connsiteY0" fmla="*/ 0 h 1039018"/>
                <a:gd name="connsiteX1" fmla="*/ 964803 w 1484312"/>
                <a:gd name="connsiteY1" fmla="*/ 0 h 1039018"/>
                <a:gd name="connsiteX2" fmla="*/ 1484312 w 1484312"/>
                <a:gd name="connsiteY2" fmla="*/ 519509 h 1039018"/>
                <a:gd name="connsiteX3" fmla="*/ 964803 w 1484312"/>
                <a:gd name="connsiteY3" fmla="*/ 1039018 h 1039018"/>
                <a:gd name="connsiteX4" fmla="*/ 0 w 1484312"/>
                <a:gd name="connsiteY4" fmla="*/ 1039018 h 1039018"/>
                <a:gd name="connsiteX5" fmla="*/ 519509 w 1484312"/>
                <a:gd name="connsiteY5" fmla="*/ 519509 h 1039018"/>
                <a:gd name="connsiteX6" fmla="*/ 0 w 1484312"/>
                <a:gd name="connsiteY6" fmla="*/ 0 h 103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4312" h="1039018">
                  <a:moveTo>
                    <a:pt x="1484312" y="0"/>
                  </a:moveTo>
                  <a:lnTo>
                    <a:pt x="1484312" y="675362"/>
                  </a:lnTo>
                  <a:lnTo>
                    <a:pt x="742156" y="1039018"/>
                  </a:lnTo>
                  <a:lnTo>
                    <a:pt x="0" y="675362"/>
                  </a:lnTo>
                  <a:lnTo>
                    <a:pt x="0" y="0"/>
                  </a:lnTo>
                  <a:lnTo>
                    <a:pt x="742156" y="363656"/>
                  </a:lnTo>
                  <a:lnTo>
                    <a:pt x="148431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8415" tIns="537924" rIns="18415" bIns="537924" spcCol="1270" anchor="ctr"/>
            <a:lstStyle/>
            <a:p>
              <a:pPr algn="ctr" defTabSz="1286673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900">
                <a:solidFill>
                  <a:prstClr val="white"/>
                </a:solidFill>
              </a:endParaRPr>
            </a:p>
          </p:txBody>
        </p:sp>
      </p:grpSp>
      <p:sp>
        <p:nvSpPr>
          <p:cNvPr id="2056" name="TextBox 4"/>
          <p:cNvSpPr txBox="1">
            <a:spLocks noChangeArrowheads="1"/>
          </p:cNvSpPr>
          <p:nvPr/>
        </p:nvSpPr>
        <p:spPr bwMode="auto">
          <a:xfrm>
            <a:off x="4144976" y="6477018"/>
            <a:ext cx="371874" cy="276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42" rIns="91270" bIns="45642">
            <a:spAutoFit/>
          </a:bodyPr>
          <a:lstStyle>
            <a:lvl1pPr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FA8E8656-0EB3-44AD-BDFB-3C500B7648B9}" type="slidenum">
              <a:rPr lang="en-US" altLang="en-US" sz="1200" smtClean="0">
                <a:solidFill>
                  <a:srgbClr val="37424A"/>
                </a:solidFill>
              </a:rPr>
              <a:pPr eaLnBrk="1" hangingPunct="1">
                <a:defRPr/>
              </a:pPr>
              <a:t>‹#›</a:t>
            </a:fld>
            <a:endParaRPr lang="en-US" altLang="en-US" sz="1200" smtClean="0">
              <a:solidFill>
                <a:srgbClr val="37424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024" r:id="rId6"/>
    <p:sldLayoutId id="2147485108" r:id="rId7"/>
    <p:sldLayoutId id="2147485109" r:id="rId8"/>
    <p:sldLayoutId id="2147485110" r:id="rId9"/>
    <p:sldLayoutId id="2147485111" r:id="rId10"/>
    <p:sldLayoutId id="2147485112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5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08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62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17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32931" indent="-232931" algn="l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Char char="•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65692" indent="-217089" algn="l" rtl="0" eaLnBrk="0" fontAlgn="base" hangingPunct="0">
        <a:spcBef>
          <a:spcPct val="20000"/>
        </a:spcBef>
        <a:spcAft>
          <a:spcPct val="0"/>
        </a:spcAft>
        <a:buClr>
          <a:srgbClr val="BFBFBF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854085" indent="-174301" algn="l" rtl="0" eaLnBrk="0" fontAlgn="base" hangingPunct="0">
        <a:spcBef>
          <a:spcPct val="20000"/>
        </a:spcBef>
        <a:spcAft>
          <a:spcPct val="0"/>
        </a:spcAft>
        <a:buClr>
          <a:srgbClr val="8CC7BA"/>
        </a:buClr>
        <a:buSzPct val="90000"/>
        <a:buChar char="•"/>
        <a:defRPr sz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199518" indent="-229766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ea typeface="Arial" charset="0"/>
          <a:cs typeface="+mn-cs"/>
        </a:defRPr>
      </a:lvl4pPr>
      <a:lvl5pPr marL="2048856" indent="-226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04868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029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15724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71153" indent="-22771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36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863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292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71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14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581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007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434" algn="l" defTabSz="910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3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4292"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 defTabSz="914292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0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49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3" r:id="rId1"/>
    <p:sldLayoutId id="2147485274" r:id="rId2"/>
    <p:sldLayoutId id="2147485275" r:id="rId3"/>
    <p:sldLayoutId id="2147485276" r:id="rId4"/>
    <p:sldLayoutId id="2147485277" r:id="rId5"/>
    <p:sldLayoutId id="2147485278" r:id="rId6"/>
    <p:sldLayoutId id="2147485279" r:id="rId7"/>
    <p:sldLayoutId id="2147485280" r:id="rId8"/>
    <p:sldLayoutId id="2147485281" r:id="rId9"/>
    <p:sldLayoutId id="2147485282" r:id="rId10"/>
    <p:sldLayoutId id="21474852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146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29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43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583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573" indent="-228573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432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148" indent="-17142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86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007" indent="-228573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157" indent="-228573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302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447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8593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5739" indent="-228573" algn="l" rtl="0" fontAlgn="base">
        <a:spcBef>
          <a:spcPct val="20000"/>
        </a:spcBef>
        <a:spcAft>
          <a:spcPct val="0"/>
        </a:spcAft>
        <a:buChar char="»"/>
        <a:tabLst>
          <a:tab pos="114286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2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7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3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9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5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1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6" algn="l" defTabSz="9142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0338" y="228601"/>
            <a:ext cx="7408862" cy="1209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15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728789"/>
            <a:ext cx="8445500" cy="439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473831"/>
            <a:ext cx="4064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EDB1CEB0-146D-41E0-B6B4-7C5A5D6A1FA2}" type="slidenum">
              <a:rPr lang="en-US" smtClean="0">
                <a:solidFill>
                  <a:srgbClr val="00877C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00877C"/>
              </a:solidFill>
              <a:latin typeface="Arial"/>
              <a:cs typeface="Arial"/>
            </a:endParaRPr>
          </a:p>
        </p:txBody>
      </p:sp>
      <p:pic>
        <p:nvPicPr>
          <p:cNvPr id="6" name="Picture 5" descr="merck_be_well_green_gray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72" y="6355080"/>
            <a:ext cx="1008888" cy="307848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74" y="6340110"/>
            <a:ext cx="2356138" cy="37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69" y="6559422"/>
            <a:ext cx="659606" cy="26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02" y="0"/>
            <a:ext cx="1208001" cy="12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0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5000"/>
        </a:lnSpc>
        <a:spcBef>
          <a:spcPts val="1200"/>
        </a:spcBef>
        <a:spcAft>
          <a:spcPts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2">
            <a:lumMod val="75000"/>
          </a:schemeClr>
        </a:buClr>
        <a:buFont typeface="Arial" charset="0"/>
        <a:buChar char="–"/>
        <a:tabLst/>
        <a:defRPr sz="2400">
          <a:solidFill>
            <a:schemeClr val="tx1"/>
          </a:solidFill>
          <a:latin typeface="+mn-lt"/>
          <a:cs typeface="+mn-cs"/>
        </a:defRPr>
      </a:lvl2pPr>
      <a:lvl3pPr marL="1085850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>
          <a:schemeClr val="accent2">
            <a:lumMod val="75000"/>
          </a:schemeClr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ClrTx/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ABDA34-F357-4A4C-863A-DADF89ACA8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mtClean="0">
              <a:solidFill>
                <a:srgbClr val="000000"/>
              </a:solidFill>
            </a:endParaRPr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3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9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smtClean="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5" y="566743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 smtClean="0">
                <a:solidFill>
                  <a:srgbClr val="FFFFFF"/>
                </a:solidFill>
              </a:rPr>
              <a:t>1T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6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19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3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03" y="33338"/>
            <a:ext cx="1746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1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44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56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78" y="566743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 smtClean="0">
                <a:solidFill>
                  <a:srgbClr val="FFFFFF"/>
                </a:solidFill>
              </a:rPr>
              <a:t>1Tea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3" y="549281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6327781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8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2EEAA374-18C6-4B0A-82BC-D3AD6B970177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95180960"/>
              </p:ext>
            </p:extLst>
          </p:nvPr>
        </p:nvGraphicFramePr>
        <p:xfrm>
          <a:off x="1200" y="161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68" name="think-cell Slide" r:id="rId43" imgW="473" imgH="473" progId="TCLayout.ActiveDocument.1">
                  <p:embed/>
                </p:oleObj>
              </mc:Choice>
              <mc:Fallback>
                <p:oleObj name="think-cell Slide" r:id="rId4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200" y="161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666" y="446259"/>
            <a:ext cx="7849610" cy="107774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666" y="1853405"/>
            <a:ext cx="8222618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659" y="6433581"/>
            <a:ext cx="28956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7424A"/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7118" y="6433603"/>
            <a:ext cx="279405" cy="2892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kern="600" spc="10">
                <a:solidFill>
                  <a:schemeClr val="tx1"/>
                </a:solidFill>
                <a:latin typeface="Arial Narrow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74D97F68-CC38-3C48-B083-3B4A1457065E}" type="slidenum">
              <a:rPr lang="en-US" smtClean="0">
                <a:solidFill>
                  <a:srgbClr val="37424A"/>
                </a:solidFill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37424A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179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  <p:sldLayoutId id="2147485449" r:id="rId30"/>
    <p:sldLayoutId id="2147485450" r:id="rId31"/>
    <p:sldLayoutId id="2147485451" r:id="rId32"/>
    <p:sldLayoutId id="2147485452" r:id="rId33"/>
    <p:sldLayoutId id="2147485453" r:id="rId34"/>
    <p:sldLayoutId id="2147485454" r:id="rId35"/>
    <p:sldLayoutId id="2147485455" r:id="rId36"/>
    <p:sldLayoutId id="2147485456" r:id="rId37"/>
    <p:sldLayoutId id="2147485457" r:id="rId38"/>
    <p:sldLayoutId id="2147485458" r:id="rId39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25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08BD1BD-F4A2-493B-8BA3-1D79115EC300}" type="slidenum">
              <a:rPr lang="en-US">
                <a:solidFill>
                  <a:srgbClr val="808080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6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015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490" r:id="rId7"/>
    <p:sldLayoutId id="2147485491" r:id="rId8"/>
    <p:sldLayoutId id="2147485492" r:id="rId9"/>
    <p:sldLayoutId id="2147485493" r:id="rId10"/>
    <p:sldLayoutId id="214748549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600" indent="-228600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7250" indent="-17145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300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tabLst>
          <a:tab pos="114300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3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38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8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latin typeface="+mn-lt"/>
                <a:cs typeface="+mn-cs"/>
              </a:defRPr>
            </a:lvl1pPr>
          </a:lstStyle>
          <a:p>
            <a:pPr>
              <a:defRPr/>
            </a:pPr>
            <a:fld id="{B94BA365-5990-4524-8DD9-C802ACD425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84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870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440E9D-2D7A-4660-94BB-026791CD8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7000" y="-30161"/>
            <a:ext cx="708660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5344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553200"/>
            <a:ext cx="457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70" tIns="45642" rIns="91270" bIns="45642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0D2998-EBA7-456D-A357-04397EDAD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1" name="Line 5"/>
          <p:cNvSpPr>
            <a:spLocks noChangeShapeType="1"/>
          </p:cNvSpPr>
          <p:nvPr userDrawn="1"/>
        </p:nvSpPr>
        <p:spPr bwMode="auto">
          <a:xfrm flipH="1">
            <a:off x="228600" y="863600"/>
            <a:ext cx="86868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 userDrawn="1"/>
        </p:nvSpPr>
        <p:spPr bwMode="auto">
          <a:xfrm>
            <a:off x="7758113" y="50800"/>
            <a:ext cx="0" cy="76200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70" tIns="45642" rIns="91270" bIns="45642"/>
          <a:lstStyle/>
          <a:p>
            <a:endParaRPr lang="en-US"/>
          </a:p>
        </p:txBody>
      </p:sp>
      <p:pic>
        <p:nvPicPr>
          <p:cNvPr id="4103" name="SensitivityLabel" descr="restricted ac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4" y="6559550"/>
            <a:ext cx="93821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4" name="Rectangle 29"/>
          <p:cNvSpPr>
            <a:spLocks noChangeArrowheads="1"/>
          </p:cNvSpPr>
          <p:nvPr userDrawn="1"/>
        </p:nvSpPr>
        <p:spPr bwMode="auto">
          <a:xfrm>
            <a:off x="7907338" y="736600"/>
            <a:ext cx="10643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smtClean="0">
                <a:solidFill>
                  <a:srgbClr val="333399"/>
                </a:solidFill>
                <a:latin typeface="Times New Roman" pitchFamily="18" charset="0"/>
              </a:rPr>
              <a:t>Business. Customers. People.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05" name="Group 30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46" name="Freeform 31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7" name="Freeform 32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8" name="Freeform 33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06" name="Rectangle 34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7" name="Rectangle 35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8" name="Rectangle 36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09" name="Rectangle 37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0" name="Rectangle 38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1" name="Rectangle 39"/>
          <p:cNvSpPr>
            <a:spLocks noChangeArrowheads="1"/>
          </p:cNvSpPr>
          <p:nvPr userDrawn="1"/>
        </p:nvSpPr>
        <p:spPr bwMode="auto">
          <a:xfrm>
            <a:off x="7991474" y="566767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 smtClean="0">
                <a:solidFill>
                  <a:srgbClr val="FFFFFF"/>
                </a:solidFill>
              </a:rPr>
              <a:t>1T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12" name="Group 40"/>
          <p:cNvGrpSpPr>
            <a:grpSpLocks/>
          </p:cNvGrpSpPr>
          <p:nvPr userDrawn="1"/>
        </p:nvGrpSpPr>
        <p:grpSpPr bwMode="auto">
          <a:xfrm>
            <a:off x="7948618" y="538163"/>
            <a:ext cx="211137" cy="176212"/>
            <a:chOff x="5007" y="339"/>
            <a:chExt cx="133" cy="111"/>
          </a:xfrm>
        </p:grpSpPr>
        <p:sp>
          <p:nvSpPr>
            <p:cNvPr id="4141" name="Freeform 41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Freeform 42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3" name="Line 43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4" name="Freeform 44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5" name="Freeform 45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13" name="Group 46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8" name="Freeform 47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9" name="Freeform 4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Freeform 49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14" name="Rectangle 50"/>
          <p:cNvSpPr>
            <a:spLocks noChangeArrowheads="1"/>
          </p:cNvSpPr>
          <p:nvPr userDrawn="1"/>
        </p:nvSpPr>
        <p:spPr bwMode="auto">
          <a:xfrm>
            <a:off x="8226425" y="33363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I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5" name="Rectangle 51"/>
          <p:cNvSpPr>
            <a:spLocks noChangeArrowheads="1"/>
          </p:cNvSpPr>
          <p:nvPr userDrawn="1"/>
        </p:nvSpPr>
        <p:spPr bwMode="auto">
          <a:xfrm>
            <a:off x="8274050" y="163543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6" name="Rectangle 52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7" name="Rectangle 53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18" name="Rectangle 54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19" name="Group 55"/>
          <p:cNvGrpSpPr>
            <a:grpSpLocks/>
          </p:cNvGrpSpPr>
          <p:nvPr userDrawn="1"/>
        </p:nvGrpSpPr>
        <p:grpSpPr bwMode="auto">
          <a:xfrm>
            <a:off x="7918456" y="26988"/>
            <a:ext cx="981075" cy="709612"/>
            <a:chOff x="4988" y="17"/>
            <a:chExt cx="618" cy="447"/>
          </a:xfrm>
        </p:grpSpPr>
        <p:sp>
          <p:nvSpPr>
            <p:cNvPr id="4135" name="Freeform 56"/>
            <p:cNvSpPr>
              <a:spLocks/>
            </p:cNvSpPr>
            <p:nvPr userDrawn="1"/>
          </p:nvSpPr>
          <p:spPr bwMode="auto">
            <a:xfrm>
              <a:off x="4999" y="24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6" name="Freeform 57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7" name="Freeform 58"/>
            <p:cNvSpPr>
              <a:spLocks/>
            </p:cNvSpPr>
            <p:nvPr userDrawn="1"/>
          </p:nvSpPr>
          <p:spPr bwMode="auto">
            <a:xfrm>
              <a:off x="4988" y="17"/>
              <a:ext cx="607" cy="440"/>
            </a:xfrm>
            <a:custGeom>
              <a:avLst/>
              <a:gdLst>
                <a:gd name="T0" fmla="*/ 0 w 607"/>
                <a:gd name="T1" fmla="*/ 0 h 440"/>
                <a:gd name="T2" fmla="*/ 0 w 607"/>
                <a:gd name="T3" fmla="*/ 440 h 440"/>
                <a:gd name="T4" fmla="*/ 607 w 607"/>
                <a:gd name="T5" fmla="*/ 440 h 440"/>
                <a:gd name="T6" fmla="*/ 300 w 607"/>
                <a:gd name="T7" fmla="*/ 38 h 440"/>
                <a:gd name="T8" fmla="*/ 271 w 607"/>
                <a:gd name="T9" fmla="*/ 0 h 440"/>
                <a:gd name="T10" fmla="*/ 0 w 607"/>
                <a:gd name="T11" fmla="*/ 0 h 4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7" h="440">
                  <a:moveTo>
                    <a:pt x="0" y="0"/>
                  </a:moveTo>
                  <a:lnTo>
                    <a:pt x="0" y="440"/>
                  </a:lnTo>
                  <a:lnTo>
                    <a:pt x="607" y="440"/>
                  </a:lnTo>
                  <a:lnTo>
                    <a:pt x="300" y="38"/>
                  </a:lnTo>
                  <a:lnTo>
                    <a:pt x="27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20" name="Rectangle 59"/>
          <p:cNvSpPr>
            <a:spLocks noChangeArrowheads="1"/>
          </p:cNvSpPr>
          <p:nvPr userDrawn="1"/>
        </p:nvSpPr>
        <p:spPr bwMode="auto">
          <a:xfrm>
            <a:off x="8153424" y="33346"/>
            <a:ext cx="17462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</a:p>
        </p:txBody>
      </p:sp>
      <p:sp>
        <p:nvSpPr>
          <p:cNvPr id="4121" name="Rectangle 60"/>
          <p:cNvSpPr>
            <a:spLocks noChangeArrowheads="1"/>
          </p:cNvSpPr>
          <p:nvPr userDrawn="1"/>
        </p:nvSpPr>
        <p:spPr bwMode="auto">
          <a:xfrm>
            <a:off x="8274050" y="163543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A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2" name="Rectangle 61"/>
          <p:cNvSpPr>
            <a:spLocks noChangeArrowheads="1"/>
          </p:cNvSpPr>
          <p:nvPr userDrawn="1"/>
        </p:nvSpPr>
        <p:spPr bwMode="auto">
          <a:xfrm>
            <a:off x="8378825" y="274668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&amp;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3" name="Rectangle 62"/>
          <p:cNvSpPr>
            <a:spLocks noChangeArrowheads="1"/>
          </p:cNvSpPr>
          <p:nvPr userDrawn="1"/>
        </p:nvSpPr>
        <p:spPr bwMode="auto">
          <a:xfrm>
            <a:off x="8485188" y="409598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D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4" name="Rectangle 63"/>
          <p:cNvSpPr>
            <a:spLocks noChangeArrowheads="1"/>
          </p:cNvSpPr>
          <p:nvPr userDrawn="1"/>
        </p:nvSpPr>
        <p:spPr bwMode="auto">
          <a:xfrm>
            <a:off x="8596313" y="52708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b="1" smtClean="0">
                <a:solidFill>
                  <a:srgbClr val="FFFFFF"/>
                </a:solidFill>
                <a:latin typeface="Times New Roman" pitchFamily="18" charset="0"/>
              </a:rPr>
              <a:t>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125" name="Rectangle 64"/>
          <p:cNvSpPr>
            <a:spLocks noChangeArrowheads="1"/>
          </p:cNvSpPr>
          <p:nvPr userDrawn="1"/>
        </p:nvSpPr>
        <p:spPr bwMode="auto">
          <a:xfrm>
            <a:off x="7991482" y="566767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900" b="1" i="1" smtClean="0">
                <a:solidFill>
                  <a:srgbClr val="FFFFFF"/>
                </a:solidFill>
              </a:rPr>
              <a:t>1Team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4126" name="Group 65"/>
          <p:cNvGrpSpPr>
            <a:grpSpLocks/>
          </p:cNvGrpSpPr>
          <p:nvPr userDrawn="1"/>
        </p:nvGrpSpPr>
        <p:grpSpPr bwMode="auto">
          <a:xfrm>
            <a:off x="7948614" y="549290"/>
            <a:ext cx="431800" cy="176213"/>
            <a:chOff x="5007" y="339"/>
            <a:chExt cx="133" cy="111"/>
          </a:xfrm>
        </p:grpSpPr>
        <p:sp>
          <p:nvSpPr>
            <p:cNvPr id="4130" name="Freeform 66"/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0 h 4000"/>
                <a:gd name="T2" fmla="*/ 0 w 4800"/>
                <a:gd name="T3" fmla="*/ 0 h 4000"/>
                <a:gd name="T4" fmla="*/ 0 w 4800"/>
                <a:gd name="T5" fmla="*/ 0 h 4000"/>
                <a:gd name="T6" fmla="*/ 0 w 4800"/>
                <a:gd name="T7" fmla="*/ 0 h 4000"/>
                <a:gd name="T8" fmla="*/ 0 w 4800"/>
                <a:gd name="T9" fmla="*/ 0 h 4000"/>
                <a:gd name="T10" fmla="*/ 0 w 4800"/>
                <a:gd name="T11" fmla="*/ 0 h 4000"/>
                <a:gd name="T12" fmla="*/ 0 w 4800"/>
                <a:gd name="T13" fmla="*/ 0 h 4000"/>
                <a:gd name="T14" fmla="*/ 0 w 4800"/>
                <a:gd name="T15" fmla="*/ 0 h 4000"/>
                <a:gd name="T16" fmla="*/ 0 w 4800"/>
                <a:gd name="T17" fmla="*/ 0 h 4000"/>
                <a:gd name="T18" fmla="*/ 0 w 4800"/>
                <a:gd name="T19" fmla="*/ 0 h 4000"/>
                <a:gd name="T20" fmla="*/ 0 w 4800"/>
                <a:gd name="T21" fmla="*/ 0 h 4000"/>
                <a:gd name="T22" fmla="*/ 0 w 4800"/>
                <a:gd name="T23" fmla="*/ 0 h 4000"/>
                <a:gd name="T24" fmla="*/ 0 w 4800"/>
                <a:gd name="T25" fmla="*/ 0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1" name="Freeform 67"/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0 h 375"/>
                <a:gd name="T2" fmla="*/ 0 w 500"/>
                <a:gd name="T3" fmla="*/ 0 h 375"/>
                <a:gd name="T4" fmla="*/ 0 w 500"/>
                <a:gd name="T5" fmla="*/ 0 h 375"/>
                <a:gd name="T6" fmla="*/ 0 w 500"/>
                <a:gd name="T7" fmla="*/ 0 h 375"/>
                <a:gd name="T8" fmla="*/ 0 w 500"/>
                <a:gd name="T9" fmla="*/ 0 h 375"/>
                <a:gd name="T10" fmla="*/ 0 w 500"/>
                <a:gd name="T11" fmla="*/ 0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2" name="Line 68"/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3" name="Freeform 69"/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0 w 500"/>
                <a:gd name="T1" fmla="*/ 0 h 250"/>
                <a:gd name="T2" fmla="*/ 0 w 500"/>
                <a:gd name="T3" fmla="*/ 0 h 250"/>
                <a:gd name="T4" fmla="*/ 0 w 500"/>
                <a:gd name="T5" fmla="*/ 0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4" name="Freeform 70"/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0 w 250"/>
                <a:gd name="T3" fmla="*/ 0 h 250"/>
                <a:gd name="T4" fmla="*/ 0 w 250"/>
                <a:gd name="T5" fmla="*/ 0 h 250"/>
                <a:gd name="T6" fmla="*/ 0 w 250"/>
                <a:gd name="T7" fmla="*/ 0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4127" name="Picture 8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8" name="Picture 9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9" name="Picture 10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8" y="6327789"/>
            <a:ext cx="12001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80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0451" indent="-22818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798624" indent="-114091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90184" indent="-17747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369077" indent="-164794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2542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281780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2738136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194492" indent="-164794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717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1EAC97-74FA-47A1-89B2-57AB9E8240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  <p:sldLayoutId id="2147485051" r:id="rId6"/>
    <p:sldLayoutId id="2147485052" r:id="rId7"/>
    <p:sldLayoutId id="2147485053" r:id="rId8"/>
    <p:sldLayoutId id="2147485054" r:id="rId9"/>
    <p:sldLayoutId id="2147485055" r:id="rId10"/>
    <p:sldLayoutId id="2147485056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19D8D1-2D27-4C1D-AFFE-245B4A637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1269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E5DDEB-010E-4D3B-8FD3-949E155F04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S Draft Indicator"/>
          <p:cNvSpPr txBox="1">
            <a:spLocks noChangeArrowheads="1"/>
          </p:cNvSpPr>
          <p:nvPr userDrawn="1"/>
        </p:nvSpPr>
        <p:spPr bwMode="blackWhite">
          <a:xfrm>
            <a:off x="3319463" y="46048"/>
            <a:ext cx="2514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70" tIns="45638" rIns="91270" bIns="45638" anchor="b"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b="1" i="1" u="none" smtClean="0">
                <a:solidFill>
                  <a:srgbClr val="A41128"/>
                </a:solidFill>
              </a:rPr>
              <a:t>Draf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91154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22245"/>
            <a:ext cx="8229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2293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2039"/>
            <a:ext cx="82296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0" tIns="45642" rIns="91270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Second levelFifth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endParaRPr lang="en-US" altLang="en-US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 bwMode="auto">
          <a:xfrm>
            <a:off x="8402638" y="6529388"/>
            <a:ext cx="741362" cy="3286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270" tIns="45642" rIns="91270" bIns="45642" numCol="1" anchor="ctr" anchorCtr="1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b="1" u="none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D4FBD7-F831-4DA2-8A77-6312BE259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63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271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690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542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270" indent="-34227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rgbClr val="292929"/>
          </a:solidFill>
          <a:latin typeface="+mn-lt"/>
          <a:ea typeface="+mn-ea"/>
          <a:cs typeface="+mn-cs"/>
        </a:defRPr>
      </a:lvl1pPr>
      <a:lvl2pPr marL="342270" indent="-22818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2000">
          <a:solidFill>
            <a:srgbClr val="333333"/>
          </a:solidFill>
          <a:latin typeface="+mn-lt"/>
          <a:cs typeface="+mn-cs"/>
        </a:defRPr>
      </a:lvl2pPr>
      <a:lvl3pPr marL="741579" indent="-2852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>
          <a:solidFill>
            <a:srgbClr val="4D4D4D"/>
          </a:solidFill>
          <a:latin typeface="+mn-lt"/>
          <a:cs typeface="+mn-cs"/>
        </a:defRPr>
      </a:lvl3pPr>
      <a:lvl4pPr marL="1026810" indent="-1711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o"/>
        <a:defRPr sz="1600">
          <a:solidFill>
            <a:srgbClr val="5F5F5F"/>
          </a:solidFill>
          <a:latin typeface="+mn-lt"/>
          <a:cs typeface="+mn-cs"/>
        </a:defRPr>
      </a:lvl4pPr>
      <a:lvl5pPr marL="1369077" indent="-228180" algn="l" rtl="0" eaLnBrk="0" fontAlgn="base" hangingPunct="0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5pPr>
      <a:lvl6pPr marL="182542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6pPr>
      <a:lvl7pPr marL="2281780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7pPr>
      <a:lvl8pPr marL="2738136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8pPr>
      <a:lvl9pPr marL="3194492" indent="-228180" algn="l" rtl="0" fontAlgn="base">
        <a:spcBef>
          <a:spcPct val="20000"/>
        </a:spcBef>
        <a:spcAft>
          <a:spcPct val="0"/>
        </a:spcAft>
        <a:buClr>
          <a:srgbClr val="777777"/>
        </a:buClr>
        <a:buFont typeface="Arial" pitchFamily="34" charset="0"/>
        <a:buChar char="»"/>
        <a:defRPr sz="14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4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7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2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0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3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2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46" algn="l" defTabSz="9127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08" tIns="45659" rIns="91308" bIns="45659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071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071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13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  <p:sldLayoutId id="2147485254" r:id="rId6"/>
    <p:sldLayoutId id="2147485255" r:id="rId7"/>
    <p:sldLayoutId id="2147485256" r:id="rId8"/>
    <p:sldLayoutId id="2147485257" r:id="rId9"/>
    <p:sldLayoutId id="2147485258" r:id="rId10"/>
    <p:sldLayoutId id="21474852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535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071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6961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6148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269" indent="-22826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0672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004" indent="-171201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13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8408" indent="-22826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4414" indent="-22826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0948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7485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4020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0557" indent="-228269" algn="l" rtl="0" fontAlgn="base">
        <a:spcBef>
          <a:spcPct val="20000"/>
        </a:spcBef>
        <a:spcAft>
          <a:spcPct val="0"/>
        </a:spcAft>
        <a:buChar char="»"/>
        <a:tabLst>
          <a:tab pos="11413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5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7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610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4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82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217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51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88" algn="l" defTabSz="9130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61060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0"/>
            <a:ext cx="7620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71600"/>
            <a:ext cx="83820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52400" y="6473834"/>
            <a:ext cx="685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64" tIns="45685" rIns="91364" bIns="45685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000">
                <a:solidFill>
                  <a:schemeClr val="bg2"/>
                </a:solidFill>
              </a:defRPr>
            </a:lvl1pPr>
          </a:lstStyle>
          <a:p>
            <a:pPr defTabSz="913634">
              <a:defRPr/>
            </a:pPr>
            <a:fld id="{008BD1BD-F4A2-493B-8BA3-1D79115EC300}" type="slidenum">
              <a:rPr lang="en-US" smtClean="0">
                <a:solidFill>
                  <a:srgbClr val="808080"/>
                </a:solidFill>
                <a:latin typeface="Arial"/>
                <a:cs typeface="Arial"/>
              </a:rPr>
              <a:pPr defTabSz="913634">
                <a:defRPr/>
              </a:pPr>
              <a:t>‹#›</a:t>
            </a:fld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2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450" y="6215073"/>
            <a:ext cx="1435100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3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6817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6pPr>
      <a:lvl7pPr marL="913634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7pPr>
      <a:lvl8pPr marL="137045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8pPr>
      <a:lvl9pPr marL="1827272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 Narrow" pitchFamily="34" charset="0"/>
          <a:cs typeface="Arial" charset="0"/>
        </a:defRPr>
      </a:lvl9pPr>
    </p:titleStyle>
    <p:bodyStyle>
      <a:lvl1pPr marL="228409" indent="-228409" algn="l" rtl="0" eaLnBrk="0" fontAlgn="base" hangingPunct="0">
        <a:lnSpc>
          <a:spcPct val="95000"/>
        </a:lnSpc>
        <a:spcBef>
          <a:spcPct val="40000"/>
        </a:spcBef>
        <a:spcAft>
          <a:spcPct val="10000"/>
        </a:spcAft>
        <a:buClr>
          <a:schemeClr val="accent1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1022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B3A79F"/>
        </a:buClr>
        <a:buFont typeface="Arial" charset="0"/>
        <a:buChar char="–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2pPr>
      <a:lvl3pPr marL="856532" indent="-171306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lr>
          <a:srgbClr val="8CC7BA"/>
        </a:buClr>
        <a:buChar char="•"/>
        <a:tabLst>
          <a:tab pos="114204" algn="l"/>
        </a:tabLst>
        <a:defRPr sz="2400">
          <a:solidFill>
            <a:schemeClr val="tx1"/>
          </a:solidFill>
          <a:latin typeface="+mn-lt"/>
          <a:cs typeface="+mn-cs"/>
        </a:defRPr>
      </a:lvl3pPr>
      <a:lvl4pPr marL="1199146" indent="-228409" algn="l" rtl="0" eaLnBrk="0" fontAlgn="base" hangingPunct="0">
        <a:lnSpc>
          <a:spcPct val="95000"/>
        </a:lnSpc>
        <a:spcBef>
          <a:spcPct val="10000"/>
        </a:spcBef>
        <a:spcAft>
          <a:spcPct val="25000"/>
        </a:spcAft>
        <a:buChar char="–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055680" indent="-228409" algn="l" rtl="0" eaLnBrk="0" fontAlgn="base" hangingPunct="0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2512496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2969313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426129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3882947" indent="-228409" algn="l" rtl="0" fontAlgn="base">
        <a:spcBef>
          <a:spcPct val="20000"/>
        </a:spcBef>
        <a:spcAft>
          <a:spcPct val="0"/>
        </a:spcAft>
        <a:buChar char="»"/>
        <a:tabLst>
          <a:tab pos="114204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4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50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7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87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05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22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38" algn="l" defTabSz="9136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US Market Analytics &amp; Investment Optimization 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2019 Top </a:t>
            </a:r>
            <a:r>
              <a:rPr lang="en-US" altLang="en-US" dirty="0" smtClean="0"/>
              <a:t>Priorities </a:t>
            </a:r>
            <a:endParaRPr lang="en-US" altLang="en-US" dirty="0" smtClean="0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838200"/>
            <a:ext cx="8229600" cy="5681663"/>
          </a:xfrm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400" u="sng" dirty="0" smtClean="0"/>
              <a:t>Innovations to Support Data &amp; Digital Strategy </a:t>
            </a:r>
          </a:p>
          <a:p>
            <a:pPr eaLnBrk="1" hangingPunct="1">
              <a:defRPr/>
            </a:pPr>
            <a:r>
              <a:rPr lang="en-US" altLang="en-US" sz="1400" dirty="0" smtClean="0"/>
              <a:t>Expand group to include new </a:t>
            </a:r>
            <a:r>
              <a:rPr lang="en-US" altLang="en-US" sz="1400" dirty="0"/>
              <a:t>Data Strategy </a:t>
            </a:r>
            <a:r>
              <a:rPr lang="en-US" altLang="en-US" sz="1400" dirty="0" smtClean="0"/>
              <a:t>&amp; Campaign Analytics functions to optimize </a:t>
            </a:r>
            <a:r>
              <a:rPr lang="en-US" altLang="en-US" sz="1400" dirty="0"/>
              <a:t>engagements and investment choices based on data driven </a:t>
            </a:r>
            <a:r>
              <a:rPr lang="en-US" altLang="en-US" sz="1400" dirty="0" smtClean="0"/>
              <a:t>insights</a:t>
            </a:r>
          </a:p>
          <a:p>
            <a:pPr eaLnBrk="1" hangingPunct="1">
              <a:defRPr/>
            </a:pPr>
            <a:r>
              <a:rPr lang="en-US" altLang="en-US" sz="1400" dirty="0" smtClean="0"/>
              <a:t>Deploy, Evaluate &amp; Scale Next Best Engagement Capabilities for </a:t>
            </a:r>
            <a:r>
              <a:rPr lang="en-US" altLang="en-US" sz="1400" dirty="0" smtClean="0"/>
              <a:t>Januvia &amp; Garda </a:t>
            </a:r>
          </a:p>
          <a:p>
            <a:pPr eaLnBrk="1" hangingPunct="1">
              <a:defRPr/>
            </a:pPr>
            <a:r>
              <a:rPr lang="en-US" altLang="en-US" sz="1400" dirty="0" smtClean="0"/>
              <a:t>Continue </a:t>
            </a:r>
            <a:r>
              <a:rPr lang="en-US" altLang="en-US" sz="1400" dirty="0"/>
              <a:t>to </a:t>
            </a:r>
            <a:r>
              <a:rPr lang="en-US" altLang="en-US" sz="1400" dirty="0" smtClean="0"/>
              <a:t>evolve analytic </a:t>
            </a:r>
            <a:r>
              <a:rPr lang="en-US" altLang="en-US" sz="1400" dirty="0"/>
              <a:t>capabilities to optimize consumer engagements, e.g. estimate optimal  </a:t>
            </a:r>
            <a:r>
              <a:rPr lang="en-US" altLang="en-US" sz="1400" dirty="0" smtClean="0"/>
              <a:t>digital frequencies for key brands </a:t>
            </a:r>
            <a:endParaRPr lang="en-US" altLang="en-US" sz="1400" dirty="0"/>
          </a:p>
          <a:p>
            <a:pPr eaLnBrk="1" hangingPunct="1">
              <a:defRPr/>
            </a:pPr>
            <a:r>
              <a:rPr lang="en-US" altLang="en-US" sz="1400" dirty="0" smtClean="0"/>
              <a:t>Systematically </a:t>
            </a:r>
            <a:r>
              <a:rPr lang="en-US" altLang="en-US" sz="1400" dirty="0"/>
              <a:t>evaluate </a:t>
            </a:r>
            <a:r>
              <a:rPr lang="en-US" altLang="en-US" sz="1400" dirty="0" smtClean="0"/>
              <a:t>newly available data </a:t>
            </a:r>
            <a:r>
              <a:rPr lang="en-US" altLang="en-US" sz="1400" dirty="0"/>
              <a:t>assets </a:t>
            </a:r>
            <a:r>
              <a:rPr lang="en-US" altLang="en-US" sz="1400" dirty="0" smtClean="0"/>
              <a:t>and methods to provide improved predictive targeting and  </a:t>
            </a:r>
            <a:r>
              <a:rPr lang="en-US" altLang="en-US" sz="1400" dirty="0"/>
              <a:t>investment </a:t>
            </a:r>
            <a:r>
              <a:rPr lang="en-US" altLang="en-US" sz="1400" dirty="0" smtClean="0"/>
              <a:t>insights with particular focus on HCP patient-level insights </a:t>
            </a:r>
          </a:p>
          <a:p>
            <a:pPr eaLnBrk="1" hangingPunct="1">
              <a:defRPr/>
            </a:pPr>
            <a:r>
              <a:rPr lang="en-US" altLang="en-US" sz="1400" dirty="0"/>
              <a:t>Deliver content optimization insights and recommendations for key brands </a:t>
            </a:r>
          </a:p>
          <a:p>
            <a:pPr marL="0" lvl="0" indent="0" eaLnBrk="1" hangingPunct="1">
              <a:buClr>
                <a:srgbClr val="009999"/>
              </a:buClr>
              <a:buNone/>
              <a:defRPr/>
            </a:pPr>
            <a:r>
              <a:rPr lang="en-US" altLang="en-US" sz="1400" u="sng" dirty="0" smtClean="0"/>
              <a:t>Evolution </a:t>
            </a:r>
            <a:r>
              <a:rPr lang="en-US" altLang="en-US" sz="1400" u="sng" dirty="0"/>
              <a:t>of Core Services</a:t>
            </a:r>
          </a:p>
          <a:p>
            <a:pPr eaLnBrk="1" hangingPunct="1">
              <a:buClr>
                <a:srgbClr val="009999"/>
              </a:buClr>
              <a:defRPr/>
            </a:pPr>
            <a:r>
              <a:rPr lang="en-US" altLang="en-US" sz="1400" dirty="0" smtClean="0"/>
              <a:t>Further evolve contract optimization insights </a:t>
            </a:r>
            <a:r>
              <a:rPr lang="en-US" altLang="en-US" sz="1400" dirty="0"/>
              <a:t>to </a:t>
            </a:r>
            <a:r>
              <a:rPr lang="en-US" altLang="en-US" sz="1400" dirty="0" smtClean="0"/>
              <a:t>inform choices </a:t>
            </a:r>
            <a:r>
              <a:rPr lang="en-US" altLang="en-US" sz="1400" dirty="0"/>
              <a:t>for Vaccine &amp; Oncology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 smtClean="0"/>
              <a:t>Proactively </a:t>
            </a:r>
            <a:r>
              <a:rPr lang="en-US" altLang="en-US" sz="1400" dirty="0"/>
              <a:t>provide insights and recommendations to optimize sales force, promotion and discount /rebate investments to inform </a:t>
            </a:r>
            <a:r>
              <a:rPr lang="en-US" altLang="en-US" sz="1400" dirty="0" smtClean="0"/>
              <a:t>2020 </a:t>
            </a:r>
            <a:r>
              <a:rPr lang="en-US" altLang="en-US" sz="1400" dirty="0"/>
              <a:t>budget and in-year optimization choices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/>
              <a:t>Complete a series of robust pilot evaluations to inform major investment choices in new engagement model strategies, tactics and technologies, e.g. NBE </a:t>
            </a:r>
          </a:p>
          <a:p>
            <a:pPr lvl="0" eaLnBrk="1" hangingPunct="1">
              <a:buClr>
                <a:srgbClr val="009999"/>
              </a:buClr>
              <a:defRPr/>
            </a:pPr>
            <a:r>
              <a:rPr lang="en-US" altLang="en-US" sz="1400" dirty="0" smtClean="0"/>
              <a:t>Continue </a:t>
            </a:r>
            <a:r>
              <a:rPr lang="en-US" altLang="en-US" sz="1400" dirty="0"/>
              <a:t>to deliver asymmetrical predictive analytic tools to optimize Primary Care, MVD, WHC, Virology &amp; Oncology Deployments (bag structure &amp; promotion effort/SIP)</a:t>
            </a:r>
          </a:p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en-US" sz="1600" u="sng" dirty="0" smtClean="0"/>
              <a:t>Continue to Develop &amp; Staff Analytics COE</a:t>
            </a:r>
          </a:p>
          <a:p>
            <a:pPr eaLnBrk="1" hangingPunct="1">
              <a:defRPr/>
            </a:pPr>
            <a:r>
              <a:rPr lang="en-US" altLang="en-US" sz="1400" dirty="0" smtClean="0"/>
              <a:t>Continue Investment Analytics Internship Program to identify &amp; evaluate early analytic talent </a:t>
            </a:r>
          </a:p>
          <a:p>
            <a:pPr eaLnBrk="1" hangingPunct="1">
              <a:defRPr/>
            </a:pPr>
            <a:r>
              <a:rPr lang="en-US" altLang="en-US" sz="1400" dirty="0" smtClean="0"/>
              <a:t>Actively participate in the “Analytics Leadership Consortium” with industry-leading analytic groups to share best practices related to data, analytic methods &amp; tools and staffing </a:t>
            </a:r>
          </a:p>
          <a:p>
            <a:pPr eaLnBrk="1" hangingPunct="1">
              <a:defRPr/>
            </a:pPr>
            <a:r>
              <a:rPr lang="en-US" altLang="en-US" sz="1400" dirty="0" smtClean="0"/>
              <a:t>Conduct department-wide team skill development program around Amazon Cloud Capabilities</a:t>
            </a:r>
          </a:p>
        </p:txBody>
      </p:sp>
      <p:pic>
        <p:nvPicPr>
          <p:cNvPr id="19460" name="bjClassifierImageBottom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6519863"/>
            <a:ext cx="8080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27629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e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ompliance</a:t>
            </a:r>
            <a:endParaRPr lang="en-US" dirty="0"/>
          </a:p>
          <a:p>
            <a:r>
              <a:rPr lang="en-US" sz="1600" dirty="0"/>
              <a:t>   Drive accountability for business process discipline    </a:t>
            </a:r>
          </a:p>
          <a:p>
            <a:r>
              <a:rPr lang="en-US" sz="1600" dirty="0"/>
              <a:t>   Ensure quality and standards are enabled as we transform business processes</a:t>
            </a:r>
          </a:p>
          <a:p>
            <a:r>
              <a:rPr lang="en-US" sz="1600" dirty="0"/>
              <a:t>   All employees complete required training and have a compliance priority for 2019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C1CB57-8D3D-48E6-BA83-5A3B10933D4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035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RCKTAG" val="MerckDocSensitivityFooter"/>
</p:tagLst>
</file>

<file path=ppt/theme/theme1.xml><?xml version="1.0" encoding="utf-8"?>
<a:theme xmlns:a="http://schemas.openxmlformats.org/drawingml/2006/main" name="6_Default Design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66203A"/>
      </a:accent1>
      <a:accent2>
        <a:srgbClr val="7F7F7F"/>
      </a:accent2>
      <a:accent3>
        <a:srgbClr val="53AAA6"/>
      </a:accent3>
      <a:accent4>
        <a:srgbClr val="BFBFBF"/>
      </a:accent4>
      <a:accent5>
        <a:srgbClr val="2F658E"/>
      </a:accent5>
      <a:accent6>
        <a:srgbClr val="F79646"/>
      </a:accent6>
      <a:hlink>
        <a:srgbClr val="2F658E"/>
      </a:hlink>
      <a:folHlink>
        <a:srgbClr val="37424A"/>
      </a:folHlink>
    </a:clrScheme>
    <a:fontScheme name="Default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erck Template MBA VERSION">
  <a:themeElements>
    <a:clrScheme name="Custom 1">
      <a:dk1>
        <a:srgbClr val="000000"/>
      </a:dk1>
      <a:lt1>
        <a:srgbClr val="FFFFFF"/>
      </a:lt1>
      <a:dk2>
        <a:srgbClr val="37424A"/>
      </a:dk2>
      <a:lt2>
        <a:srgbClr val="BDBDBD"/>
      </a:lt2>
      <a:accent1>
        <a:srgbClr val="00877C"/>
      </a:accent1>
      <a:accent2>
        <a:srgbClr val="8CC7BA"/>
      </a:accent2>
      <a:accent3>
        <a:srgbClr val="D97C1E"/>
      </a:accent3>
      <a:accent4>
        <a:srgbClr val="8F8F3A"/>
      </a:accent4>
      <a:accent5>
        <a:srgbClr val="E8C90F"/>
      </a:accent5>
      <a:accent6>
        <a:srgbClr val="66203A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GHH Strategy IFL_16-9 PPT Template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77C"/>
      </a:accent1>
      <a:accent2>
        <a:srgbClr val="BDBDBD"/>
      </a:accent2>
      <a:accent3>
        <a:srgbClr val="FFFFFF"/>
      </a:accent3>
      <a:accent4>
        <a:srgbClr val="000000"/>
      </a:accent4>
      <a:accent5>
        <a:srgbClr val="AAC3BF"/>
      </a:accent5>
      <a:accent6>
        <a:srgbClr val="ABABAB"/>
      </a:accent6>
      <a:hlink>
        <a:srgbClr val="8CC7BA"/>
      </a:hlink>
      <a:folHlink>
        <a:srgbClr val="99CC00"/>
      </a:folHlink>
    </a:clrScheme>
    <a:fontScheme name="Custom Design">
      <a:majorFont>
        <a:latin typeface="Arial Narrow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Char char="•"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877C"/>
        </a:accent1>
        <a:accent2>
          <a:srgbClr val="BDBDBD"/>
        </a:accent2>
        <a:accent3>
          <a:srgbClr val="FFFFFF"/>
        </a:accent3>
        <a:accent4>
          <a:srgbClr val="000000"/>
        </a:accent4>
        <a:accent5>
          <a:srgbClr val="AAC3BF"/>
        </a:accent5>
        <a:accent6>
          <a:srgbClr val="ABABAB"/>
        </a:accent6>
        <a:hlink>
          <a:srgbClr val="8CC7BA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a10f9ac0-5937-4b4f-b459-96aedd9ed2c5">
  <element uid="id_classification_euconfidential" value=""/>
  <element uid="cefbaa69-3bfa-4b56-8d22-6839cb7b06d0" value=""/>
</sisl>
</file>

<file path=customXml/itemProps1.xml><?xml version="1.0" encoding="utf-8"?>
<ds:datastoreItem xmlns:ds="http://schemas.openxmlformats.org/officeDocument/2006/customXml" ds:itemID="{5FC89BB1-CE6F-40C1-829C-7A2559C17230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369</TotalTime>
  <Words>283</Words>
  <Application>Microsoft Office PowerPoint</Application>
  <PresentationFormat>On-screen Show (4:3)</PresentationFormat>
  <Paragraphs>23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20" baseType="lpstr">
      <vt:lpstr>6_Default Design</vt:lpstr>
      <vt:lpstr>3_Custom Design</vt:lpstr>
      <vt:lpstr>1_Default Design</vt:lpstr>
      <vt:lpstr>4_Custom Design</vt:lpstr>
      <vt:lpstr>5_Custom Design</vt:lpstr>
      <vt:lpstr>6_Custom Design</vt:lpstr>
      <vt:lpstr>7_Custom Design</vt:lpstr>
      <vt:lpstr>Custom Design</vt:lpstr>
      <vt:lpstr>1_Custom Design</vt:lpstr>
      <vt:lpstr>2_Custom Design</vt:lpstr>
      <vt:lpstr>Merck Template MBA VERSION</vt:lpstr>
      <vt:lpstr>7_Default Design</vt:lpstr>
      <vt:lpstr>6_GHH Strategy IFL_16-9 PPT Template</vt:lpstr>
      <vt:lpstr>8_Custom Design</vt:lpstr>
      <vt:lpstr>9_Custom Design</vt:lpstr>
      <vt:lpstr>think-cell Slide</vt:lpstr>
      <vt:lpstr>Picture</vt:lpstr>
      <vt:lpstr>Image</vt:lpstr>
      <vt:lpstr>US Market Analytics &amp; Investment Optimization  2019 Top Priorities </vt:lpstr>
      <vt:lpstr>Continued </vt:lpstr>
    </vt:vector>
  </TitlesOfParts>
  <Company>Merck &amp; Co.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k_No_Image PPT Template</dc:title>
  <dc:creator>http://www.merckbranding.com</dc:creator>
  <cp:lastModifiedBy>Merck &amp; Co., Inc.</cp:lastModifiedBy>
  <cp:revision>404</cp:revision>
  <cp:lastPrinted>2018-10-25T13:23:44Z</cp:lastPrinted>
  <dcterms:created xsi:type="dcterms:W3CDTF">2009-09-22T14:01:11Z</dcterms:created>
  <dcterms:modified xsi:type="dcterms:W3CDTF">2019-03-29T18:0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3a9a7b9-2b64-40fd-be64-e821f77ed1bd</vt:lpwstr>
  </property>
  <property fmtid="{D5CDD505-2E9C-101B-9397-08002B2CF9AE}" pid="3" name="bjSaver">
    <vt:lpwstr>Oh5c6E8ULhvu0B2i2GdwussaDlV3//4W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a10f9ac0-5937-4b4f-b459-96aedd9ed2c5" xmlns="http://www.boldonjames.com/2008/01/sie/i</vt:lpwstr>
  </property>
  <property fmtid="{D5CDD505-2E9C-101B-9397-08002B2CF9AE}" pid="5" name="bjDocumentLabelXML-0">
    <vt:lpwstr>nternal/label"&gt;&lt;element uid="id_classification_euconfidential" value="" /&gt;&lt;element uid="cefbaa69-3bfa-4b56-8d22-6839cb7b06d0" value="" /&gt;&lt;/sisl&gt;</vt:lpwstr>
  </property>
  <property fmtid="{D5CDD505-2E9C-101B-9397-08002B2CF9AE}" pid="6" name="bjDocumentSecurityLabel">
    <vt:lpwstr>Proprietary</vt:lpwstr>
  </property>
  <property fmtid="{D5CDD505-2E9C-101B-9397-08002B2CF9AE}" pid="7" name="MerckMetadataExchange">
    <vt:lpwstr>!$MRK@Proprietary-Footer-Left</vt:lpwstr>
  </property>
  <property fmtid="{D5CDD505-2E9C-101B-9397-08002B2CF9AE}" pid="8" name="_AdHocReviewCycleID">
    <vt:i4>1774219868</vt:i4>
  </property>
  <property fmtid="{D5CDD505-2E9C-101B-9397-08002B2CF9AE}" pid="9" name="_NewReviewCycle">
    <vt:lpwstr/>
  </property>
  <property fmtid="{D5CDD505-2E9C-101B-9397-08002B2CF9AE}" pid="10" name="_EmailSubject">
    <vt:lpwstr>IA&amp;DS Capabilities Deck </vt:lpwstr>
  </property>
  <property fmtid="{D5CDD505-2E9C-101B-9397-08002B2CF9AE}" pid="11" name="_AuthorEmail">
    <vt:lpwstr>patrick_moore@merck.com</vt:lpwstr>
  </property>
  <property fmtid="{D5CDD505-2E9C-101B-9397-08002B2CF9AE}" pid="12" name="_AuthorEmailDisplayName">
    <vt:lpwstr>Moore, Patrick C</vt:lpwstr>
  </property>
</Properties>
</file>